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2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Masters/notesMaster1.xml" ContentType="application/vnd.openxmlformats-officedocument.presentationml.notesMaster+xml"/>
  <Override PartName="/ppt/diagrams/layout2.xml" ContentType="application/vnd.openxmlformats-officedocument.drawingml.diagramLayout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3" r:id="rId2"/>
    <p:sldMasterId id="2147483685" r:id="rId3"/>
    <p:sldMasterId id="2147483697" r:id="rId4"/>
  </p:sldMasterIdLst>
  <p:notesMasterIdLst>
    <p:notesMasterId r:id="rId17"/>
  </p:notesMasterIdLst>
  <p:handoutMasterIdLst>
    <p:handoutMasterId r:id="rId18"/>
  </p:handoutMasterIdLst>
  <p:sldIdLst>
    <p:sldId id="263" r:id="rId5"/>
    <p:sldId id="270" r:id="rId6"/>
    <p:sldId id="276" r:id="rId7"/>
    <p:sldId id="268" r:id="rId8"/>
    <p:sldId id="269" r:id="rId9"/>
    <p:sldId id="274" r:id="rId10"/>
    <p:sldId id="275" r:id="rId11"/>
    <p:sldId id="264" r:id="rId12"/>
    <p:sldId id="265" r:id="rId13"/>
    <p:sldId id="266" r:id="rId14"/>
    <p:sldId id="272" r:id="rId15"/>
    <p:sldId id="273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4662" autoAdjust="0"/>
  </p:normalViewPr>
  <p:slideViewPr>
    <p:cSldViewPr>
      <p:cViewPr varScale="1">
        <p:scale>
          <a:sx n="70" d="100"/>
          <a:sy n="70" d="100"/>
        </p:scale>
        <p:origin x="-137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2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74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customXml" Target="../customXml/item4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ustomXml" Target="../customXml/item2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ustomXml" Target="../customXml/item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2F56AA-6054-0841-801D-9365A715D8D6}" type="doc">
      <dgm:prSet loTypeId="urn:microsoft.com/office/officeart/2005/8/layout/orgChart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C83765-FA4D-C945-B349-CAF87867B8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Transformation </a:t>
          </a:r>
          <a:endParaRPr lang="en-US" sz="1400" dirty="0"/>
        </a:p>
      </dgm:t>
    </dgm:pt>
    <dgm:pt modelId="{143D692A-92AD-C348-89DD-12FD2354CE15}" type="parTrans" cxnId="{4217EC16-067A-EB41-9A33-277299BBB977}">
      <dgm:prSet/>
      <dgm:spPr/>
      <dgm:t>
        <a:bodyPr/>
        <a:lstStyle/>
        <a:p>
          <a:endParaRPr lang="en-US" sz="1400"/>
        </a:p>
      </dgm:t>
    </dgm:pt>
    <dgm:pt modelId="{5A9F4F76-A515-6745-B189-04FC13CDDD58}" type="sibTrans" cxnId="{4217EC16-067A-EB41-9A33-277299BBB977}">
      <dgm:prSet/>
      <dgm:spPr/>
      <dgm:t>
        <a:bodyPr/>
        <a:lstStyle/>
        <a:p>
          <a:endParaRPr lang="en-US" sz="1400"/>
        </a:p>
      </dgm:t>
    </dgm:pt>
    <dgm:pt modelId="{9AF85308-69AE-5541-A462-B159E29CCC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Program Management</a:t>
          </a:r>
          <a:endParaRPr lang="en-US" sz="1400" dirty="0"/>
        </a:p>
      </dgm:t>
    </dgm:pt>
    <dgm:pt modelId="{F283BFA7-A709-C847-8431-26373C80B6E5}" type="parTrans" cxnId="{737F4E88-1F05-1F4B-B292-C6D762B81E0F}">
      <dgm:prSet/>
      <dgm:spPr/>
      <dgm:t>
        <a:bodyPr/>
        <a:lstStyle/>
        <a:p>
          <a:endParaRPr lang="en-US" sz="1400"/>
        </a:p>
      </dgm:t>
    </dgm:pt>
    <dgm:pt modelId="{E55CB977-7D7A-1C44-8C7E-DB5032C8AA7D}" type="sibTrans" cxnId="{737F4E88-1F05-1F4B-B292-C6D762B81E0F}">
      <dgm:prSet/>
      <dgm:spPr/>
      <dgm:t>
        <a:bodyPr/>
        <a:lstStyle/>
        <a:p>
          <a:endParaRPr lang="en-US" sz="1400"/>
        </a:p>
      </dgm:t>
    </dgm:pt>
    <dgm:pt modelId="{FC34F398-8308-FA40-AAC3-C5203012C76F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Infrastructure and Support</a:t>
          </a:r>
          <a:endParaRPr lang="en-US" sz="1400" dirty="0"/>
        </a:p>
      </dgm:t>
    </dgm:pt>
    <dgm:pt modelId="{8B54D4BC-F3C7-C447-97E6-B95DA5C31133}" type="parTrans" cxnId="{9D281A86-1403-6F43-91AC-A4BFEF0A8B6B}">
      <dgm:prSet/>
      <dgm:spPr/>
      <dgm:t>
        <a:bodyPr/>
        <a:lstStyle/>
        <a:p>
          <a:endParaRPr lang="en-US" sz="1400"/>
        </a:p>
      </dgm:t>
    </dgm:pt>
    <dgm:pt modelId="{3268F3BA-45EE-034B-AE99-34CC1792E746}" type="sibTrans" cxnId="{9D281A86-1403-6F43-91AC-A4BFEF0A8B6B}">
      <dgm:prSet/>
      <dgm:spPr/>
      <dgm:t>
        <a:bodyPr/>
        <a:lstStyle/>
        <a:p>
          <a:endParaRPr lang="en-US" sz="1400"/>
        </a:p>
      </dgm:t>
    </dgm:pt>
    <dgm:pt modelId="{0551AC74-5B47-AB43-A823-2A188556483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Delivery</a:t>
          </a:r>
          <a:endParaRPr lang="en-US" sz="1400" dirty="0"/>
        </a:p>
      </dgm:t>
    </dgm:pt>
    <dgm:pt modelId="{02018BAF-3BA9-7047-8BDA-4C178F4147AE}" type="parTrans" cxnId="{CF0E7A5F-D07B-0948-8FBB-EEFBC5D989E7}">
      <dgm:prSet/>
      <dgm:spPr/>
      <dgm:t>
        <a:bodyPr/>
        <a:lstStyle/>
        <a:p>
          <a:endParaRPr lang="en-US" sz="1400"/>
        </a:p>
      </dgm:t>
    </dgm:pt>
    <dgm:pt modelId="{72BD13B1-E157-E440-BD2A-3369FC2EF68A}" type="sibTrans" cxnId="{CF0E7A5F-D07B-0948-8FBB-EEFBC5D989E7}">
      <dgm:prSet/>
      <dgm:spPr/>
      <dgm:t>
        <a:bodyPr/>
        <a:lstStyle/>
        <a:p>
          <a:endParaRPr lang="en-US" sz="1400"/>
        </a:p>
      </dgm:t>
    </dgm:pt>
    <dgm:pt modelId="{525EC1AC-C9F5-402B-BAC0-47F416B9A3B6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Architecture</a:t>
          </a:r>
          <a:endParaRPr lang="en-US" sz="1400" dirty="0"/>
        </a:p>
      </dgm:t>
    </dgm:pt>
    <dgm:pt modelId="{67CF6515-370E-4C6D-AC55-9990BFBA9CE1}" type="parTrans" cxnId="{74C9461B-9820-409B-8E4B-EB116C48AA52}">
      <dgm:prSet/>
      <dgm:spPr/>
      <dgm:t>
        <a:bodyPr/>
        <a:lstStyle/>
        <a:p>
          <a:endParaRPr lang="en-US" sz="1400"/>
        </a:p>
      </dgm:t>
    </dgm:pt>
    <dgm:pt modelId="{C8FCC378-5FA9-41B5-8163-8A58F3FE137F}" type="sibTrans" cxnId="{74C9461B-9820-409B-8E4B-EB116C48AA52}">
      <dgm:prSet/>
      <dgm:spPr/>
      <dgm:t>
        <a:bodyPr/>
        <a:lstStyle/>
        <a:p>
          <a:endParaRPr lang="en-US" sz="1400"/>
        </a:p>
      </dgm:t>
    </dgm:pt>
    <dgm:pt modelId="{B31608B6-2CB4-483F-ADDA-49F38FB45A2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Data Governance </a:t>
          </a:r>
          <a:endParaRPr lang="en-US" sz="1400" dirty="0"/>
        </a:p>
      </dgm:t>
    </dgm:pt>
    <dgm:pt modelId="{00CD9573-FFB4-4692-B6DC-5BA8DDF2B715}" type="parTrans" cxnId="{52B1775E-9238-453D-B0A8-0ACE1AE62B20}">
      <dgm:prSet/>
      <dgm:spPr/>
      <dgm:t>
        <a:bodyPr/>
        <a:lstStyle/>
        <a:p>
          <a:endParaRPr lang="en-US" sz="1400"/>
        </a:p>
      </dgm:t>
    </dgm:pt>
    <dgm:pt modelId="{8C783002-3AB9-47D8-AC99-4DBAF72D37F6}" type="sibTrans" cxnId="{52B1775E-9238-453D-B0A8-0ACE1AE62B20}">
      <dgm:prSet/>
      <dgm:spPr/>
      <dgm:t>
        <a:bodyPr/>
        <a:lstStyle/>
        <a:p>
          <a:endParaRPr lang="en-US" sz="1400"/>
        </a:p>
      </dgm:t>
    </dgm:pt>
    <dgm:pt modelId="{0CD967FD-FFAF-464B-B122-A0320A335035}" type="pres">
      <dgm:prSet presAssocID="{AC2F56AA-6054-0841-801D-9365A715D8D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DB99CE5-AE95-40A0-93CA-A4ED187AB5B8}" type="pres">
      <dgm:prSet presAssocID="{04C83765-FA4D-C945-B349-CAF87867B8CC}" presName="hierRoot1" presStyleCnt="0">
        <dgm:presLayoutVars>
          <dgm:hierBranch val="init"/>
        </dgm:presLayoutVars>
      </dgm:prSet>
      <dgm:spPr/>
    </dgm:pt>
    <dgm:pt modelId="{6636957A-0B4E-45AA-9976-E448A52C3E53}" type="pres">
      <dgm:prSet presAssocID="{04C83765-FA4D-C945-B349-CAF87867B8CC}" presName="rootComposite1" presStyleCnt="0"/>
      <dgm:spPr/>
    </dgm:pt>
    <dgm:pt modelId="{63A902A3-D332-46A4-A292-46A58AA416B9}" type="pres">
      <dgm:prSet presAssocID="{04C83765-FA4D-C945-B349-CAF87867B8CC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9B80720-458B-4873-BBE6-67EF52E5A2F6}" type="pres">
      <dgm:prSet presAssocID="{04C83765-FA4D-C945-B349-CAF87867B8CC}" presName="rootConnector1" presStyleLbl="node1" presStyleIdx="0" presStyleCnt="0"/>
      <dgm:spPr/>
      <dgm:t>
        <a:bodyPr/>
        <a:lstStyle/>
        <a:p>
          <a:endParaRPr lang="en-US"/>
        </a:p>
      </dgm:t>
    </dgm:pt>
    <dgm:pt modelId="{A6685557-8F70-45EE-8C03-E4F2EFA2FDE7}" type="pres">
      <dgm:prSet presAssocID="{04C83765-FA4D-C945-B349-CAF87867B8CC}" presName="hierChild2" presStyleCnt="0"/>
      <dgm:spPr/>
    </dgm:pt>
    <dgm:pt modelId="{D066088D-B9A7-4F07-AC4F-FDC0FCE67A47}" type="pres">
      <dgm:prSet presAssocID="{F283BFA7-A709-C847-8431-26373C80B6E5}" presName="Name37" presStyleLbl="parChTrans1D2" presStyleIdx="0" presStyleCnt="5"/>
      <dgm:spPr/>
      <dgm:t>
        <a:bodyPr/>
        <a:lstStyle/>
        <a:p>
          <a:endParaRPr lang="en-US"/>
        </a:p>
      </dgm:t>
    </dgm:pt>
    <dgm:pt modelId="{93326194-033C-4648-BF13-D1B2EBB2A56A}" type="pres">
      <dgm:prSet presAssocID="{9AF85308-69AE-5541-A462-B159E29CCCC5}" presName="hierRoot2" presStyleCnt="0">
        <dgm:presLayoutVars>
          <dgm:hierBranch val="init"/>
        </dgm:presLayoutVars>
      </dgm:prSet>
      <dgm:spPr/>
    </dgm:pt>
    <dgm:pt modelId="{1A5357F8-F44A-42B2-8755-6A70F43F1D92}" type="pres">
      <dgm:prSet presAssocID="{9AF85308-69AE-5541-A462-B159E29CCCC5}" presName="rootComposite" presStyleCnt="0"/>
      <dgm:spPr/>
    </dgm:pt>
    <dgm:pt modelId="{7449D73E-8E76-4719-AF8D-0F173B0C28B3}" type="pres">
      <dgm:prSet presAssocID="{9AF85308-69AE-5541-A462-B159E29CCCC5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E422937-4339-4B34-B672-05EEBBFFEEFF}" type="pres">
      <dgm:prSet presAssocID="{9AF85308-69AE-5541-A462-B159E29CCCC5}" presName="rootConnector" presStyleLbl="node2" presStyleIdx="0" presStyleCnt="5"/>
      <dgm:spPr/>
      <dgm:t>
        <a:bodyPr/>
        <a:lstStyle/>
        <a:p>
          <a:endParaRPr lang="en-US"/>
        </a:p>
      </dgm:t>
    </dgm:pt>
    <dgm:pt modelId="{B86DE524-4EF3-440D-8DF0-8575EB9A234A}" type="pres">
      <dgm:prSet presAssocID="{9AF85308-69AE-5541-A462-B159E29CCCC5}" presName="hierChild4" presStyleCnt="0"/>
      <dgm:spPr/>
    </dgm:pt>
    <dgm:pt modelId="{DC412CF0-99E0-4DA6-84FF-DDEC3E967624}" type="pres">
      <dgm:prSet presAssocID="{9AF85308-69AE-5541-A462-B159E29CCCC5}" presName="hierChild5" presStyleCnt="0"/>
      <dgm:spPr/>
    </dgm:pt>
    <dgm:pt modelId="{5075B09E-1D74-4823-9C67-771CE403EDF9}" type="pres">
      <dgm:prSet presAssocID="{00CD9573-FFB4-4692-B6DC-5BA8DDF2B715}" presName="Name37" presStyleLbl="parChTrans1D2" presStyleIdx="1" presStyleCnt="5"/>
      <dgm:spPr/>
      <dgm:t>
        <a:bodyPr/>
        <a:lstStyle/>
        <a:p>
          <a:endParaRPr lang="en-US"/>
        </a:p>
      </dgm:t>
    </dgm:pt>
    <dgm:pt modelId="{896EC80E-BF64-4587-BF3F-D0730812E407}" type="pres">
      <dgm:prSet presAssocID="{B31608B6-2CB4-483F-ADDA-49F38FB45A25}" presName="hierRoot2" presStyleCnt="0">
        <dgm:presLayoutVars>
          <dgm:hierBranch val="init"/>
        </dgm:presLayoutVars>
      </dgm:prSet>
      <dgm:spPr/>
    </dgm:pt>
    <dgm:pt modelId="{FD02FD0F-CE00-4354-8824-04E4FD2D2891}" type="pres">
      <dgm:prSet presAssocID="{B31608B6-2CB4-483F-ADDA-49F38FB45A25}" presName="rootComposite" presStyleCnt="0"/>
      <dgm:spPr/>
    </dgm:pt>
    <dgm:pt modelId="{0475CE8E-7B43-48C3-BE00-118904AE8756}" type="pres">
      <dgm:prSet presAssocID="{B31608B6-2CB4-483F-ADDA-49F38FB45A25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BC62C46-DC09-498B-BDA3-4AD79C7067EF}" type="pres">
      <dgm:prSet presAssocID="{B31608B6-2CB4-483F-ADDA-49F38FB45A25}" presName="rootConnector" presStyleLbl="node2" presStyleIdx="1" presStyleCnt="5"/>
      <dgm:spPr/>
      <dgm:t>
        <a:bodyPr/>
        <a:lstStyle/>
        <a:p>
          <a:endParaRPr lang="en-US"/>
        </a:p>
      </dgm:t>
    </dgm:pt>
    <dgm:pt modelId="{9A3636C9-5EBA-46EC-938F-E5B56FE6D09E}" type="pres">
      <dgm:prSet presAssocID="{B31608B6-2CB4-483F-ADDA-49F38FB45A25}" presName="hierChild4" presStyleCnt="0"/>
      <dgm:spPr/>
    </dgm:pt>
    <dgm:pt modelId="{2F920760-79CD-4A62-9C40-241B1ED7DCB8}" type="pres">
      <dgm:prSet presAssocID="{B31608B6-2CB4-483F-ADDA-49F38FB45A25}" presName="hierChild5" presStyleCnt="0"/>
      <dgm:spPr/>
    </dgm:pt>
    <dgm:pt modelId="{3E7C355D-C965-42FE-8A22-2E59FB848421}" type="pres">
      <dgm:prSet presAssocID="{8B54D4BC-F3C7-C447-97E6-B95DA5C31133}" presName="Name37" presStyleLbl="parChTrans1D2" presStyleIdx="2" presStyleCnt="5"/>
      <dgm:spPr/>
      <dgm:t>
        <a:bodyPr/>
        <a:lstStyle/>
        <a:p>
          <a:endParaRPr lang="en-US"/>
        </a:p>
      </dgm:t>
    </dgm:pt>
    <dgm:pt modelId="{47E01520-5B7A-4F67-BB70-D46095F70893}" type="pres">
      <dgm:prSet presAssocID="{FC34F398-8308-FA40-AAC3-C5203012C76F}" presName="hierRoot2" presStyleCnt="0">
        <dgm:presLayoutVars>
          <dgm:hierBranch val="init"/>
        </dgm:presLayoutVars>
      </dgm:prSet>
      <dgm:spPr/>
    </dgm:pt>
    <dgm:pt modelId="{8FDB2A7B-821C-4F75-9A14-51DCFF470780}" type="pres">
      <dgm:prSet presAssocID="{FC34F398-8308-FA40-AAC3-C5203012C76F}" presName="rootComposite" presStyleCnt="0"/>
      <dgm:spPr/>
    </dgm:pt>
    <dgm:pt modelId="{54D35B86-E192-4DCF-A786-141885FB9529}" type="pres">
      <dgm:prSet presAssocID="{FC34F398-8308-FA40-AAC3-C5203012C76F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E93718-6551-47B1-AB79-714E12B25318}" type="pres">
      <dgm:prSet presAssocID="{FC34F398-8308-FA40-AAC3-C5203012C76F}" presName="rootConnector" presStyleLbl="node2" presStyleIdx="2" presStyleCnt="5"/>
      <dgm:spPr/>
      <dgm:t>
        <a:bodyPr/>
        <a:lstStyle/>
        <a:p>
          <a:endParaRPr lang="en-US"/>
        </a:p>
      </dgm:t>
    </dgm:pt>
    <dgm:pt modelId="{3A5D08E9-D629-48B9-AC16-6AC50C1435A6}" type="pres">
      <dgm:prSet presAssocID="{FC34F398-8308-FA40-AAC3-C5203012C76F}" presName="hierChild4" presStyleCnt="0"/>
      <dgm:spPr/>
    </dgm:pt>
    <dgm:pt modelId="{CE8580FF-4A84-441C-8C80-9933FDEC3CD7}" type="pres">
      <dgm:prSet presAssocID="{FC34F398-8308-FA40-AAC3-C5203012C76F}" presName="hierChild5" presStyleCnt="0"/>
      <dgm:spPr/>
    </dgm:pt>
    <dgm:pt modelId="{254227DB-A3F2-4B2D-AD9F-0ADD3BC3BA54}" type="pres">
      <dgm:prSet presAssocID="{67CF6515-370E-4C6D-AC55-9990BFBA9CE1}" presName="Name37" presStyleLbl="parChTrans1D2" presStyleIdx="3" presStyleCnt="5"/>
      <dgm:spPr/>
      <dgm:t>
        <a:bodyPr/>
        <a:lstStyle/>
        <a:p>
          <a:endParaRPr lang="en-US"/>
        </a:p>
      </dgm:t>
    </dgm:pt>
    <dgm:pt modelId="{E4E645DC-81B6-4B71-8435-8C673B84C569}" type="pres">
      <dgm:prSet presAssocID="{525EC1AC-C9F5-402B-BAC0-47F416B9A3B6}" presName="hierRoot2" presStyleCnt="0">
        <dgm:presLayoutVars>
          <dgm:hierBranch val="init"/>
        </dgm:presLayoutVars>
      </dgm:prSet>
      <dgm:spPr/>
    </dgm:pt>
    <dgm:pt modelId="{84ABCEE5-A578-41CC-BC6C-9A1D18233485}" type="pres">
      <dgm:prSet presAssocID="{525EC1AC-C9F5-402B-BAC0-47F416B9A3B6}" presName="rootComposite" presStyleCnt="0"/>
      <dgm:spPr/>
    </dgm:pt>
    <dgm:pt modelId="{102288C9-9194-4996-8150-E24537B30DF2}" type="pres">
      <dgm:prSet presAssocID="{525EC1AC-C9F5-402B-BAC0-47F416B9A3B6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E18D593-14D0-44F1-A782-CCF095097B70}" type="pres">
      <dgm:prSet presAssocID="{525EC1AC-C9F5-402B-BAC0-47F416B9A3B6}" presName="rootConnector" presStyleLbl="node2" presStyleIdx="3" presStyleCnt="5"/>
      <dgm:spPr/>
      <dgm:t>
        <a:bodyPr/>
        <a:lstStyle/>
        <a:p>
          <a:endParaRPr lang="en-US"/>
        </a:p>
      </dgm:t>
    </dgm:pt>
    <dgm:pt modelId="{7D7B0964-2D7D-42A6-B0AE-58E47F3AC9D3}" type="pres">
      <dgm:prSet presAssocID="{525EC1AC-C9F5-402B-BAC0-47F416B9A3B6}" presName="hierChild4" presStyleCnt="0"/>
      <dgm:spPr/>
    </dgm:pt>
    <dgm:pt modelId="{8B1D38D9-B824-4071-925D-0816C83C2D35}" type="pres">
      <dgm:prSet presAssocID="{525EC1AC-C9F5-402B-BAC0-47F416B9A3B6}" presName="hierChild5" presStyleCnt="0"/>
      <dgm:spPr/>
    </dgm:pt>
    <dgm:pt modelId="{2AAB4D98-E4EE-425B-B4BF-9116ACD38C39}" type="pres">
      <dgm:prSet presAssocID="{02018BAF-3BA9-7047-8BDA-4C178F4147AE}" presName="Name37" presStyleLbl="parChTrans1D2" presStyleIdx="4" presStyleCnt="5"/>
      <dgm:spPr/>
      <dgm:t>
        <a:bodyPr/>
        <a:lstStyle/>
        <a:p>
          <a:endParaRPr lang="en-US"/>
        </a:p>
      </dgm:t>
    </dgm:pt>
    <dgm:pt modelId="{6454F0CF-6266-4138-81DF-730171F5D687}" type="pres">
      <dgm:prSet presAssocID="{0551AC74-5B47-AB43-A823-2A1885564832}" presName="hierRoot2" presStyleCnt="0">
        <dgm:presLayoutVars>
          <dgm:hierBranch val="init"/>
        </dgm:presLayoutVars>
      </dgm:prSet>
      <dgm:spPr/>
    </dgm:pt>
    <dgm:pt modelId="{E4B94E3E-47EE-4BC4-93D2-156C13B67E66}" type="pres">
      <dgm:prSet presAssocID="{0551AC74-5B47-AB43-A823-2A1885564832}" presName="rootComposite" presStyleCnt="0"/>
      <dgm:spPr/>
    </dgm:pt>
    <dgm:pt modelId="{62549D30-A0CE-451D-8451-34D70C19BBFB}" type="pres">
      <dgm:prSet presAssocID="{0551AC74-5B47-AB43-A823-2A1885564832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57C0FBA-46B8-41CD-9C49-B1C152C85856}" type="pres">
      <dgm:prSet presAssocID="{0551AC74-5B47-AB43-A823-2A1885564832}" presName="rootConnector" presStyleLbl="node2" presStyleIdx="4" presStyleCnt="5"/>
      <dgm:spPr/>
      <dgm:t>
        <a:bodyPr/>
        <a:lstStyle/>
        <a:p>
          <a:endParaRPr lang="en-US"/>
        </a:p>
      </dgm:t>
    </dgm:pt>
    <dgm:pt modelId="{B2053736-0B2E-4E39-97B7-AAF40696FDC0}" type="pres">
      <dgm:prSet presAssocID="{0551AC74-5B47-AB43-A823-2A1885564832}" presName="hierChild4" presStyleCnt="0"/>
      <dgm:spPr/>
    </dgm:pt>
    <dgm:pt modelId="{A5455B7C-12A1-4CA4-94D3-3788A4B1D576}" type="pres">
      <dgm:prSet presAssocID="{0551AC74-5B47-AB43-A823-2A1885564832}" presName="hierChild5" presStyleCnt="0"/>
      <dgm:spPr/>
    </dgm:pt>
    <dgm:pt modelId="{1B1324BD-5F3D-4F92-941F-F4734EC26E56}" type="pres">
      <dgm:prSet presAssocID="{04C83765-FA4D-C945-B349-CAF87867B8CC}" presName="hierChild3" presStyleCnt="0"/>
      <dgm:spPr/>
    </dgm:pt>
  </dgm:ptLst>
  <dgm:cxnLst>
    <dgm:cxn modelId="{9D281A86-1403-6F43-91AC-A4BFEF0A8B6B}" srcId="{04C83765-FA4D-C945-B349-CAF87867B8CC}" destId="{FC34F398-8308-FA40-AAC3-C5203012C76F}" srcOrd="2" destOrd="0" parTransId="{8B54D4BC-F3C7-C447-97E6-B95DA5C31133}" sibTransId="{3268F3BA-45EE-034B-AE99-34CC1792E746}"/>
    <dgm:cxn modelId="{52B1775E-9238-453D-B0A8-0ACE1AE62B20}" srcId="{04C83765-FA4D-C945-B349-CAF87867B8CC}" destId="{B31608B6-2CB4-483F-ADDA-49F38FB45A25}" srcOrd="1" destOrd="0" parTransId="{00CD9573-FFB4-4692-B6DC-5BA8DDF2B715}" sibTransId="{8C783002-3AB9-47D8-AC99-4DBAF72D37F6}"/>
    <dgm:cxn modelId="{40380878-ECD2-42A4-98CC-BA4FEF3BD6A7}" type="presOf" srcId="{67CF6515-370E-4C6D-AC55-9990BFBA9CE1}" destId="{254227DB-A3F2-4B2D-AD9F-0ADD3BC3BA54}" srcOrd="0" destOrd="0" presId="urn:microsoft.com/office/officeart/2005/8/layout/orgChart1"/>
    <dgm:cxn modelId="{29149EF3-F7C6-4D53-8F4A-D94075CF2419}" type="presOf" srcId="{8B54D4BC-F3C7-C447-97E6-B95DA5C31133}" destId="{3E7C355D-C965-42FE-8A22-2E59FB848421}" srcOrd="0" destOrd="0" presId="urn:microsoft.com/office/officeart/2005/8/layout/orgChart1"/>
    <dgm:cxn modelId="{86B3851C-8A37-4BC4-856E-5B5DA21129E4}" type="presOf" srcId="{00CD9573-FFB4-4692-B6DC-5BA8DDF2B715}" destId="{5075B09E-1D74-4823-9C67-771CE403EDF9}" srcOrd="0" destOrd="0" presId="urn:microsoft.com/office/officeart/2005/8/layout/orgChart1"/>
    <dgm:cxn modelId="{782D36C2-10AD-4EB1-BDA8-CBC0C29A48E0}" type="presOf" srcId="{525EC1AC-C9F5-402B-BAC0-47F416B9A3B6}" destId="{AE18D593-14D0-44F1-A782-CCF095097B70}" srcOrd="1" destOrd="0" presId="urn:microsoft.com/office/officeart/2005/8/layout/orgChart1"/>
    <dgm:cxn modelId="{6E43D724-A210-489D-A975-2E09C5CAEF2D}" type="presOf" srcId="{FC34F398-8308-FA40-AAC3-C5203012C76F}" destId="{54D35B86-E192-4DCF-A786-141885FB9529}" srcOrd="0" destOrd="0" presId="urn:microsoft.com/office/officeart/2005/8/layout/orgChart1"/>
    <dgm:cxn modelId="{74C9461B-9820-409B-8E4B-EB116C48AA52}" srcId="{04C83765-FA4D-C945-B349-CAF87867B8CC}" destId="{525EC1AC-C9F5-402B-BAC0-47F416B9A3B6}" srcOrd="3" destOrd="0" parTransId="{67CF6515-370E-4C6D-AC55-9990BFBA9CE1}" sibTransId="{C8FCC378-5FA9-41B5-8163-8A58F3FE137F}"/>
    <dgm:cxn modelId="{CF0E7A5F-D07B-0948-8FBB-EEFBC5D989E7}" srcId="{04C83765-FA4D-C945-B349-CAF87867B8CC}" destId="{0551AC74-5B47-AB43-A823-2A1885564832}" srcOrd="4" destOrd="0" parTransId="{02018BAF-3BA9-7047-8BDA-4C178F4147AE}" sibTransId="{72BD13B1-E157-E440-BD2A-3369FC2EF68A}"/>
    <dgm:cxn modelId="{607218E6-7957-466E-8C54-394E600D98B9}" type="presOf" srcId="{B31608B6-2CB4-483F-ADDA-49F38FB45A25}" destId="{0475CE8E-7B43-48C3-BE00-118904AE8756}" srcOrd="0" destOrd="0" presId="urn:microsoft.com/office/officeart/2005/8/layout/orgChart1"/>
    <dgm:cxn modelId="{737F4E88-1F05-1F4B-B292-C6D762B81E0F}" srcId="{04C83765-FA4D-C945-B349-CAF87867B8CC}" destId="{9AF85308-69AE-5541-A462-B159E29CCCC5}" srcOrd="0" destOrd="0" parTransId="{F283BFA7-A709-C847-8431-26373C80B6E5}" sibTransId="{E55CB977-7D7A-1C44-8C7E-DB5032C8AA7D}"/>
    <dgm:cxn modelId="{5C91283B-9A4E-4823-8275-73D7B8ABF21D}" type="presOf" srcId="{02018BAF-3BA9-7047-8BDA-4C178F4147AE}" destId="{2AAB4D98-E4EE-425B-B4BF-9116ACD38C39}" srcOrd="0" destOrd="0" presId="urn:microsoft.com/office/officeart/2005/8/layout/orgChart1"/>
    <dgm:cxn modelId="{4217EC16-067A-EB41-9A33-277299BBB977}" srcId="{AC2F56AA-6054-0841-801D-9365A715D8D6}" destId="{04C83765-FA4D-C945-B349-CAF87867B8CC}" srcOrd="0" destOrd="0" parTransId="{143D692A-92AD-C348-89DD-12FD2354CE15}" sibTransId="{5A9F4F76-A515-6745-B189-04FC13CDDD58}"/>
    <dgm:cxn modelId="{81576ABB-6140-4E08-84D7-3A8310E6E16D}" type="presOf" srcId="{F283BFA7-A709-C847-8431-26373C80B6E5}" destId="{D066088D-B9A7-4F07-AC4F-FDC0FCE67A47}" srcOrd="0" destOrd="0" presId="urn:microsoft.com/office/officeart/2005/8/layout/orgChart1"/>
    <dgm:cxn modelId="{18DCB425-CA29-4807-B608-BBFA70FF4776}" type="presOf" srcId="{FC34F398-8308-FA40-AAC3-C5203012C76F}" destId="{F5E93718-6551-47B1-AB79-714E12B25318}" srcOrd="1" destOrd="0" presId="urn:microsoft.com/office/officeart/2005/8/layout/orgChart1"/>
    <dgm:cxn modelId="{D07A0AD6-6FE7-4E0F-BEF0-292259EFD834}" type="presOf" srcId="{AC2F56AA-6054-0841-801D-9365A715D8D6}" destId="{0CD967FD-FFAF-464B-B122-A0320A335035}" srcOrd="0" destOrd="0" presId="urn:microsoft.com/office/officeart/2005/8/layout/orgChart1"/>
    <dgm:cxn modelId="{B37DE6AA-7007-4570-92EF-F128E2B802C2}" type="presOf" srcId="{0551AC74-5B47-AB43-A823-2A1885564832}" destId="{B57C0FBA-46B8-41CD-9C49-B1C152C85856}" srcOrd="1" destOrd="0" presId="urn:microsoft.com/office/officeart/2005/8/layout/orgChart1"/>
    <dgm:cxn modelId="{CA518115-96F6-447A-8424-FD51971BCE2B}" type="presOf" srcId="{525EC1AC-C9F5-402B-BAC0-47F416B9A3B6}" destId="{102288C9-9194-4996-8150-E24537B30DF2}" srcOrd="0" destOrd="0" presId="urn:microsoft.com/office/officeart/2005/8/layout/orgChart1"/>
    <dgm:cxn modelId="{21543409-5964-4A9E-A6A3-257D8B7FAB6A}" type="presOf" srcId="{9AF85308-69AE-5541-A462-B159E29CCCC5}" destId="{7449D73E-8E76-4719-AF8D-0F173B0C28B3}" srcOrd="0" destOrd="0" presId="urn:microsoft.com/office/officeart/2005/8/layout/orgChart1"/>
    <dgm:cxn modelId="{7AA3330E-473B-4D59-B6CC-F22EC30F95D1}" type="presOf" srcId="{04C83765-FA4D-C945-B349-CAF87867B8CC}" destId="{63A902A3-D332-46A4-A292-46A58AA416B9}" srcOrd="0" destOrd="0" presId="urn:microsoft.com/office/officeart/2005/8/layout/orgChart1"/>
    <dgm:cxn modelId="{3384E575-7D02-4FFE-936C-E9081DE2304D}" type="presOf" srcId="{B31608B6-2CB4-483F-ADDA-49F38FB45A25}" destId="{3BC62C46-DC09-498B-BDA3-4AD79C7067EF}" srcOrd="1" destOrd="0" presId="urn:microsoft.com/office/officeart/2005/8/layout/orgChart1"/>
    <dgm:cxn modelId="{01995256-B62E-49B8-80E5-4F8588B1EF3D}" type="presOf" srcId="{04C83765-FA4D-C945-B349-CAF87867B8CC}" destId="{49B80720-458B-4873-BBE6-67EF52E5A2F6}" srcOrd="1" destOrd="0" presId="urn:microsoft.com/office/officeart/2005/8/layout/orgChart1"/>
    <dgm:cxn modelId="{4F67B6E9-EB2D-4F56-ADA6-53C144B68A8A}" type="presOf" srcId="{0551AC74-5B47-AB43-A823-2A1885564832}" destId="{62549D30-A0CE-451D-8451-34D70C19BBFB}" srcOrd="0" destOrd="0" presId="urn:microsoft.com/office/officeart/2005/8/layout/orgChart1"/>
    <dgm:cxn modelId="{DB5CEA04-3D76-48FA-B45D-7BE3EDAE4057}" type="presOf" srcId="{9AF85308-69AE-5541-A462-B159E29CCCC5}" destId="{2E422937-4339-4B34-B672-05EEBBFFEEFF}" srcOrd="1" destOrd="0" presId="urn:microsoft.com/office/officeart/2005/8/layout/orgChart1"/>
    <dgm:cxn modelId="{38D21550-BEB3-4754-B93C-7E1F2410875D}" type="presParOf" srcId="{0CD967FD-FFAF-464B-B122-A0320A335035}" destId="{4DB99CE5-AE95-40A0-93CA-A4ED187AB5B8}" srcOrd="0" destOrd="0" presId="urn:microsoft.com/office/officeart/2005/8/layout/orgChart1"/>
    <dgm:cxn modelId="{511D7ED3-B290-44AB-BF18-D4146D077870}" type="presParOf" srcId="{4DB99CE5-AE95-40A0-93CA-A4ED187AB5B8}" destId="{6636957A-0B4E-45AA-9976-E448A52C3E53}" srcOrd="0" destOrd="0" presId="urn:microsoft.com/office/officeart/2005/8/layout/orgChart1"/>
    <dgm:cxn modelId="{DB02076A-4974-4D35-99DD-43BE25A69BF4}" type="presParOf" srcId="{6636957A-0B4E-45AA-9976-E448A52C3E53}" destId="{63A902A3-D332-46A4-A292-46A58AA416B9}" srcOrd="0" destOrd="0" presId="urn:microsoft.com/office/officeart/2005/8/layout/orgChart1"/>
    <dgm:cxn modelId="{EF0E49AB-C928-41AA-9663-4DB8AD15151C}" type="presParOf" srcId="{6636957A-0B4E-45AA-9976-E448A52C3E53}" destId="{49B80720-458B-4873-BBE6-67EF52E5A2F6}" srcOrd="1" destOrd="0" presId="urn:microsoft.com/office/officeart/2005/8/layout/orgChart1"/>
    <dgm:cxn modelId="{3E2DDC09-D272-45F6-8D54-C7B33C9D74EF}" type="presParOf" srcId="{4DB99CE5-AE95-40A0-93CA-A4ED187AB5B8}" destId="{A6685557-8F70-45EE-8C03-E4F2EFA2FDE7}" srcOrd="1" destOrd="0" presId="urn:microsoft.com/office/officeart/2005/8/layout/orgChart1"/>
    <dgm:cxn modelId="{6AB745A1-DE69-429F-8348-9DC1B84560FB}" type="presParOf" srcId="{A6685557-8F70-45EE-8C03-E4F2EFA2FDE7}" destId="{D066088D-B9A7-4F07-AC4F-FDC0FCE67A47}" srcOrd="0" destOrd="0" presId="urn:microsoft.com/office/officeart/2005/8/layout/orgChart1"/>
    <dgm:cxn modelId="{31098CC2-B045-4460-A9F7-01A1FCF15C4E}" type="presParOf" srcId="{A6685557-8F70-45EE-8C03-E4F2EFA2FDE7}" destId="{93326194-033C-4648-BF13-D1B2EBB2A56A}" srcOrd="1" destOrd="0" presId="urn:microsoft.com/office/officeart/2005/8/layout/orgChart1"/>
    <dgm:cxn modelId="{9379BE18-851E-4544-997D-8552511CFA48}" type="presParOf" srcId="{93326194-033C-4648-BF13-D1B2EBB2A56A}" destId="{1A5357F8-F44A-42B2-8755-6A70F43F1D92}" srcOrd="0" destOrd="0" presId="urn:microsoft.com/office/officeart/2005/8/layout/orgChart1"/>
    <dgm:cxn modelId="{EAF90255-AC63-4445-81B7-84896CE0FA64}" type="presParOf" srcId="{1A5357F8-F44A-42B2-8755-6A70F43F1D92}" destId="{7449D73E-8E76-4719-AF8D-0F173B0C28B3}" srcOrd="0" destOrd="0" presId="urn:microsoft.com/office/officeart/2005/8/layout/orgChart1"/>
    <dgm:cxn modelId="{AA311B71-B261-4BE4-9B24-B09E08D94464}" type="presParOf" srcId="{1A5357F8-F44A-42B2-8755-6A70F43F1D92}" destId="{2E422937-4339-4B34-B672-05EEBBFFEEFF}" srcOrd="1" destOrd="0" presId="urn:microsoft.com/office/officeart/2005/8/layout/orgChart1"/>
    <dgm:cxn modelId="{332083A3-C732-4197-A7FC-D7B744C2CDF9}" type="presParOf" srcId="{93326194-033C-4648-BF13-D1B2EBB2A56A}" destId="{B86DE524-4EF3-440D-8DF0-8575EB9A234A}" srcOrd="1" destOrd="0" presId="urn:microsoft.com/office/officeart/2005/8/layout/orgChart1"/>
    <dgm:cxn modelId="{FAB1BF0C-5EFE-41A8-997A-ACD9E4086B9F}" type="presParOf" srcId="{93326194-033C-4648-BF13-D1B2EBB2A56A}" destId="{DC412CF0-99E0-4DA6-84FF-DDEC3E967624}" srcOrd="2" destOrd="0" presId="urn:microsoft.com/office/officeart/2005/8/layout/orgChart1"/>
    <dgm:cxn modelId="{B5152757-BF3B-431F-AC49-8348599AF924}" type="presParOf" srcId="{A6685557-8F70-45EE-8C03-E4F2EFA2FDE7}" destId="{5075B09E-1D74-4823-9C67-771CE403EDF9}" srcOrd="2" destOrd="0" presId="urn:microsoft.com/office/officeart/2005/8/layout/orgChart1"/>
    <dgm:cxn modelId="{EDD6C998-50A4-4ACE-A7C4-6C96B1DC6ECE}" type="presParOf" srcId="{A6685557-8F70-45EE-8C03-E4F2EFA2FDE7}" destId="{896EC80E-BF64-4587-BF3F-D0730812E407}" srcOrd="3" destOrd="0" presId="urn:microsoft.com/office/officeart/2005/8/layout/orgChart1"/>
    <dgm:cxn modelId="{2E6A2218-CE04-400D-BCD5-9D0F7041F239}" type="presParOf" srcId="{896EC80E-BF64-4587-BF3F-D0730812E407}" destId="{FD02FD0F-CE00-4354-8824-04E4FD2D2891}" srcOrd="0" destOrd="0" presId="urn:microsoft.com/office/officeart/2005/8/layout/orgChart1"/>
    <dgm:cxn modelId="{32C54D3B-FF87-4994-9549-C8BB70BEDA64}" type="presParOf" srcId="{FD02FD0F-CE00-4354-8824-04E4FD2D2891}" destId="{0475CE8E-7B43-48C3-BE00-118904AE8756}" srcOrd="0" destOrd="0" presId="urn:microsoft.com/office/officeart/2005/8/layout/orgChart1"/>
    <dgm:cxn modelId="{1E5443A1-D797-48DE-983D-DB062C518D0E}" type="presParOf" srcId="{FD02FD0F-CE00-4354-8824-04E4FD2D2891}" destId="{3BC62C46-DC09-498B-BDA3-4AD79C7067EF}" srcOrd="1" destOrd="0" presId="urn:microsoft.com/office/officeart/2005/8/layout/orgChart1"/>
    <dgm:cxn modelId="{67B69B4B-EB6D-4307-93B5-1DBD2DD54463}" type="presParOf" srcId="{896EC80E-BF64-4587-BF3F-D0730812E407}" destId="{9A3636C9-5EBA-46EC-938F-E5B56FE6D09E}" srcOrd="1" destOrd="0" presId="urn:microsoft.com/office/officeart/2005/8/layout/orgChart1"/>
    <dgm:cxn modelId="{701F245B-7F2B-4161-811B-5590717BE69E}" type="presParOf" srcId="{896EC80E-BF64-4587-BF3F-D0730812E407}" destId="{2F920760-79CD-4A62-9C40-241B1ED7DCB8}" srcOrd="2" destOrd="0" presId="urn:microsoft.com/office/officeart/2005/8/layout/orgChart1"/>
    <dgm:cxn modelId="{D9A65DD3-011D-4CF7-A94C-517B6684D459}" type="presParOf" srcId="{A6685557-8F70-45EE-8C03-E4F2EFA2FDE7}" destId="{3E7C355D-C965-42FE-8A22-2E59FB848421}" srcOrd="4" destOrd="0" presId="urn:microsoft.com/office/officeart/2005/8/layout/orgChart1"/>
    <dgm:cxn modelId="{208B1E4B-326C-45E6-A5F5-C4776846406C}" type="presParOf" srcId="{A6685557-8F70-45EE-8C03-E4F2EFA2FDE7}" destId="{47E01520-5B7A-4F67-BB70-D46095F70893}" srcOrd="5" destOrd="0" presId="urn:microsoft.com/office/officeart/2005/8/layout/orgChart1"/>
    <dgm:cxn modelId="{6A4D3BE5-6E8F-4146-A85E-A54CC4A94B75}" type="presParOf" srcId="{47E01520-5B7A-4F67-BB70-D46095F70893}" destId="{8FDB2A7B-821C-4F75-9A14-51DCFF470780}" srcOrd="0" destOrd="0" presId="urn:microsoft.com/office/officeart/2005/8/layout/orgChart1"/>
    <dgm:cxn modelId="{8DD0D169-B1BE-43AF-BCDE-EA9B9D2F3E74}" type="presParOf" srcId="{8FDB2A7B-821C-4F75-9A14-51DCFF470780}" destId="{54D35B86-E192-4DCF-A786-141885FB9529}" srcOrd="0" destOrd="0" presId="urn:microsoft.com/office/officeart/2005/8/layout/orgChart1"/>
    <dgm:cxn modelId="{30B760EE-17E9-4B8B-AAE2-2A3BA31C42C6}" type="presParOf" srcId="{8FDB2A7B-821C-4F75-9A14-51DCFF470780}" destId="{F5E93718-6551-47B1-AB79-714E12B25318}" srcOrd="1" destOrd="0" presId="urn:microsoft.com/office/officeart/2005/8/layout/orgChart1"/>
    <dgm:cxn modelId="{63C5E78C-E7FF-458B-80F2-BBF076917EE0}" type="presParOf" srcId="{47E01520-5B7A-4F67-BB70-D46095F70893}" destId="{3A5D08E9-D629-48B9-AC16-6AC50C1435A6}" srcOrd="1" destOrd="0" presId="urn:microsoft.com/office/officeart/2005/8/layout/orgChart1"/>
    <dgm:cxn modelId="{5939779F-B434-403C-8360-1989C48B1267}" type="presParOf" srcId="{47E01520-5B7A-4F67-BB70-D46095F70893}" destId="{CE8580FF-4A84-441C-8C80-9933FDEC3CD7}" srcOrd="2" destOrd="0" presId="urn:microsoft.com/office/officeart/2005/8/layout/orgChart1"/>
    <dgm:cxn modelId="{280A4812-175A-4B02-A769-72D3C70CB2BD}" type="presParOf" srcId="{A6685557-8F70-45EE-8C03-E4F2EFA2FDE7}" destId="{254227DB-A3F2-4B2D-AD9F-0ADD3BC3BA54}" srcOrd="6" destOrd="0" presId="urn:microsoft.com/office/officeart/2005/8/layout/orgChart1"/>
    <dgm:cxn modelId="{A92BE4CE-4CB6-44D4-AC8B-68A70F6DA61F}" type="presParOf" srcId="{A6685557-8F70-45EE-8C03-E4F2EFA2FDE7}" destId="{E4E645DC-81B6-4B71-8435-8C673B84C569}" srcOrd="7" destOrd="0" presId="urn:microsoft.com/office/officeart/2005/8/layout/orgChart1"/>
    <dgm:cxn modelId="{CAEB081F-BFBB-41B4-BBB1-05B2C33CD0A5}" type="presParOf" srcId="{E4E645DC-81B6-4B71-8435-8C673B84C569}" destId="{84ABCEE5-A578-41CC-BC6C-9A1D18233485}" srcOrd="0" destOrd="0" presId="urn:microsoft.com/office/officeart/2005/8/layout/orgChart1"/>
    <dgm:cxn modelId="{7DF8C94D-9069-4F86-9246-965532FD5C3D}" type="presParOf" srcId="{84ABCEE5-A578-41CC-BC6C-9A1D18233485}" destId="{102288C9-9194-4996-8150-E24537B30DF2}" srcOrd="0" destOrd="0" presId="urn:microsoft.com/office/officeart/2005/8/layout/orgChart1"/>
    <dgm:cxn modelId="{B96D2497-136E-4CB7-82FC-26FA8321B345}" type="presParOf" srcId="{84ABCEE5-A578-41CC-BC6C-9A1D18233485}" destId="{AE18D593-14D0-44F1-A782-CCF095097B70}" srcOrd="1" destOrd="0" presId="urn:microsoft.com/office/officeart/2005/8/layout/orgChart1"/>
    <dgm:cxn modelId="{B24592B4-4C20-4816-AC6F-7E90B5B80ADF}" type="presParOf" srcId="{E4E645DC-81B6-4B71-8435-8C673B84C569}" destId="{7D7B0964-2D7D-42A6-B0AE-58E47F3AC9D3}" srcOrd="1" destOrd="0" presId="urn:microsoft.com/office/officeart/2005/8/layout/orgChart1"/>
    <dgm:cxn modelId="{F29A1FC9-CAEE-4B00-BBA5-229FA2DB074E}" type="presParOf" srcId="{E4E645DC-81B6-4B71-8435-8C673B84C569}" destId="{8B1D38D9-B824-4071-925D-0816C83C2D35}" srcOrd="2" destOrd="0" presId="urn:microsoft.com/office/officeart/2005/8/layout/orgChart1"/>
    <dgm:cxn modelId="{303E308D-2F84-48A8-BA57-31042C984F9C}" type="presParOf" srcId="{A6685557-8F70-45EE-8C03-E4F2EFA2FDE7}" destId="{2AAB4D98-E4EE-425B-B4BF-9116ACD38C39}" srcOrd="8" destOrd="0" presId="urn:microsoft.com/office/officeart/2005/8/layout/orgChart1"/>
    <dgm:cxn modelId="{34466399-B0F8-4E5A-8953-BA295D71B4C6}" type="presParOf" srcId="{A6685557-8F70-45EE-8C03-E4F2EFA2FDE7}" destId="{6454F0CF-6266-4138-81DF-730171F5D687}" srcOrd="9" destOrd="0" presId="urn:microsoft.com/office/officeart/2005/8/layout/orgChart1"/>
    <dgm:cxn modelId="{70F8F7CE-9CA7-4015-B425-952F05579C03}" type="presParOf" srcId="{6454F0CF-6266-4138-81DF-730171F5D687}" destId="{E4B94E3E-47EE-4BC4-93D2-156C13B67E66}" srcOrd="0" destOrd="0" presId="urn:microsoft.com/office/officeart/2005/8/layout/orgChart1"/>
    <dgm:cxn modelId="{D3AEC22F-5B71-4A58-ACC4-330B40F15BC4}" type="presParOf" srcId="{E4B94E3E-47EE-4BC4-93D2-156C13B67E66}" destId="{62549D30-A0CE-451D-8451-34D70C19BBFB}" srcOrd="0" destOrd="0" presId="urn:microsoft.com/office/officeart/2005/8/layout/orgChart1"/>
    <dgm:cxn modelId="{97E0B66D-5CEB-472B-BE98-95AC154B4560}" type="presParOf" srcId="{E4B94E3E-47EE-4BC4-93D2-156C13B67E66}" destId="{B57C0FBA-46B8-41CD-9C49-B1C152C85856}" srcOrd="1" destOrd="0" presId="urn:microsoft.com/office/officeart/2005/8/layout/orgChart1"/>
    <dgm:cxn modelId="{FE371C5D-611C-4C71-BE42-83992E1C6F97}" type="presParOf" srcId="{6454F0CF-6266-4138-81DF-730171F5D687}" destId="{B2053736-0B2E-4E39-97B7-AAF40696FDC0}" srcOrd="1" destOrd="0" presId="urn:microsoft.com/office/officeart/2005/8/layout/orgChart1"/>
    <dgm:cxn modelId="{9DB0D082-7313-4D29-A8D5-6896C32DB1BD}" type="presParOf" srcId="{6454F0CF-6266-4138-81DF-730171F5D687}" destId="{A5455B7C-12A1-4CA4-94D3-3788A4B1D576}" srcOrd="2" destOrd="0" presId="urn:microsoft.com/office/officeart/2005/8/layout/orgChart1"/>
    <dgm:cxn modelId="{2C38D5C8-64E9-46DC-82D2-B23B2D097D58}" type="presParOf" srcId="{4DB99CE5-AE95-40A0-93CA-A4ED187AB5B8}" destId="{1B1324BD-5F3D-4F92-941F-F4734EC26E56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2F56AA-6054-0841-801D-9365A715D8D6}" type="doc">
      <dgm:prSet loTypeId="urn:microsoft.com/office/officeart/2008/layout/NameandTitleOrganizationalChart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C83765-FA4D-C945-B349-CAF87867B8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Delivery</a:t>
          </a:r>
          <a:endParaRPr lang="en-US" sz="1400" dirty="0"/>
        </a:p>
      </dgm:t>
    </dgm:pt>
    <dgm:pt modelId="{143D692A-92AD-C348-89DD-12FD2354CE15}" type="parTrans" cxnId="{4217EC16-067A-EB41-9A33-277299BBB977}">
      <dgm:prSet/>
      <dgm:spPr/>
      <dgm:t>
        <a:bodyPr/>
        <a:lstStyle/>
        <a:p>
          <a:endParaRPr lang="en-US" sz="1400"/>
        </a:p>
      </dgm:t>
    </dgm:pt>
    <dgm:pt modelId="{5A9F4F76-A515-6745-B189-04FC13CDDD58}" type="sibTrans" cxnId="{4217EC16-067A-EB41-9A33-277299BBB977}">
      <dgm:prSet custT="1"/>
      <dgm:spPr/>
      <dgm:t>
        <a:bodyPr/>
        <a:lstStyle/>
        <a:p>
          <a:r>
            <a:rPr lang="en-US" sz="1000" dirty="0" smtClean="0"/>
            <a:t>Frank Miller</a:t>
          </a:r>
        </a:p>
        <a:p>
          <a:r>
            <a:rPr lang="en-US" sz="1000" dirty="0" smtClean="0"/>
            <a:t>VP BDA, API, SDN R/D</a:t>
          </a:r>
          <a:endParaRPr lang="en-US" sz="1000" dirty="0"/>
        </a:p>
      </dgm:t>
    </dgm:pt>
    <dgm:pt modelId="{9AF85308-69AE-5541-A462-B159E29CCC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BDA Research</a:t>
          </a:r>
          <a:endParaRPr lang="en-US" sz="1400" dirty="0"/>
        </a:p>
      </dgm:t>
    </dgm:pt>
    <dgm:pt modelId="{F283BFA7-A709-C847-8431-26373C80B6E5}" type="parTrans" cxnId="{737F4E88-1F05-1F4B-B292-C6D762B81E0F}">
      <dgm:prSet/>
      <dgm:spPr/>
      <dgm:t>
        <a:bodyPr/>
        <a:lstStyle/>
        <a:p>
          <a:endParaRPr lang="en-US" sz="1400"/>
        </a:p>
      </dgm:t>
    </dgm:pt>
    <dgm:pt modelId="{E55CB977-7D7A-1C44-8C7E-DB5032C8AA7D}" type="sibTrans" cxnId="{737F4E88-1F05-1F4B-B292-C6D762B81E0F}">
      <dgm:prSet/>
      <dgm:spPr/>
      <dgm:t>
        <a:bodyPr/>
        <a:lstStyle/>
        <a:p>
          <a:r>
            <a:rPr lang="en-US" sz="1400" dirty="0" smtClean="0"/>
            <a:t>Dr. Ade Miller- Director</a:t>
          </a:r>
          <a:endParaRPr lang="en-US" sz="1400" dirty="0"/>
        </a:p>
      </dgm:t>
    </dgm:pt>
    <dgm:pt modelId="{FC34F398-8308-FA40-AAC3-C5203012C76F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API Development</a:t>
          </a:r>
          <a:endParaRPr lang="en-US" sz="1400" dirty="0"/>
        </a:p>
      </dgm:t>
    </dgm:pt>
    <dgm:pt modelId="{8B54D4BC-F3C7-C447-97E6-B95DA5C31133}" type="parTrans" cxnId="{9D281A86-1403-6F43-91AC-A4BFEF0A8B6B}">
      <dgm:prSet/>
      <dgm:spPr/>
      <dgm:t>
        <a:bodyPr/>
        <a:lstStyle/>
        <a:p>
          <a:endParaRPr lang="en-US" sz="1400"/>
        </a:p>
      </dgm:t>
    </dgm:pt>
    <dgm:pt modelId="{3268F3BA-45EE-034B-AE99-34CC1792E746}" type="sibTrans" cxnId="{9D281A86-1403-6F43-91AC-A4BFEF0A8B6B}">
      <dgm:prSet/>
      <dgm:spPr/>
      <dgm:t>
        <a:bodyPr/>
        <a:lstStyle/>
        <a:p>
          <a:r>
            <a:rPr lang="en-US" sz="1400" dirty="0" smtClean="0"/>
            <a:t>Gary Sidhu - Director</a:t>
          </a:r>
          <a:endParaRPr lang="en-US" sz="1400" dirty="0"/>
        </a:p>
      </dgm:t>
    </dgm:pt>
    <dgm:pt modelId="{525EC1AC-C9F5-402B-BAC0-47F416B9A3B6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SDN Research</a:t>
          </a:r>
          <a:endParaRPr lang="en-US" sz="1400" dirty="0"/>
        </a:p>
      </dgm:t>
    </dgm:pt>
    <dgm:pt modelId="{67CF6515-370E-4C6D-AC55-9990BFBA9CE1}" type="parTrans" cxnId="{74C9461B-9820-409B-8E4B-EB116C48AA52}">
      <dgm:prSet/>
      <dgm:spPr/>
      <dgm:t>
        <a:bodyPr/>
        <a:lstStyle/>
        <a:p>
          <a:endParaRPr lang="en-US" sz="1400"/>
        </a:p>
      </dgm:t>
    </dgm:pt>
    <dgm:pt modelId="{C8FCC378-5FA9-41B5-8163-8A58F3FE137F}" type="sibTrans" cxnId="{74C9461B-9820-409B-8E4B-EB116C48AA52}">
      <dgm:prSet/>
      <dgm:spPr/>
      <dgm:t>
        <a:bodyPr/>
        <a:lstStyle/>
        <a:p>
          <a:r>
            <a:rPr lang="en-US" sz="1400" dirty="0" smtClean="0"/>
            <a:t>Bill Walker - Director</a:t>
          </a:r>
          <a:endParaRPr lang="en-US" sz="1400" dirty="0"/>
        </a:p>
      </dgm:t>
    </dgm:pt>
    <dgm:pt modelId="{B31608B6-2CB4-483F-ADDA-49F38FB45A2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BDA Development</a:t>
          </a:r>
          <a:endParaRPr lang="en-US" sz="1400" dirty="0"/>
        </a:p>
      </dgm:t>
    </dgm:pt>
    <dgm:pt modelId="{00CD9573-FFB4-4692-B6DC-5BA8DDF2B715}" type="parTrans" cxnId="{52B1775E-9238-453D-B0A8-0ACE1AE62B20}">
      <dgm:prSet/>
      <dgm:spPr/>
      <dgm:t>
        <a:bodyPr/>
        <a:lstStyle/>
        <a:p>
          <a:endParaRPr lang="en-US" sz="1400"/>
        </a:p>
      </dgm:t>
    </dgm:pt>
    <dgm:pt modelId="{8C783002-3AB9-47D8-AC99-4DBAF72D37F6}" type="sibTrans" cxnId="{52B1775E-9238-453D-B0A8-0ACE1AE62B20}">
      <dgm:prSet/>
      <dgm:spPr/>
      <dgm:t>
        <a:bodyPr/>
        <a:lstStyle/>
        <a:p>
          <a:r>
            <a:rPr lang="en-US" sz="1400" dirty="0" smtClean="0"/>
            <a:t>Tim Posey - Director</a:t>
          </a:r>
          <a:endParaRPr lang="en-US" sz="1400" dirty="0"/>
        </a:p>
      </dgm:t>
    </dgm:pt>
    <dgm:pt modelId="{BCC049C3-292B-40A7-ABC6-86082A155671}" type="pres">
      <dgm:prSet presAssocID="{AC2F56AA-6054-0841-801D-9365A715D8D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04CB03E-B72D-40E2-B4D2-60AA0351CF02}" type="pres">
      <dgm:prSet presAssocID="{04C83765-FA4D-C945-B349-CAF87867B8CC}" presName="hierRoot1" presStyleCnt="0">
        <dgm:presLayoutVars>
          <dgm:hierBranch val="init"/>
        </dgm:presLayoutVars>
      </dgm:prSet>
      <dgm:spPr/>
    </dgm:pt>
    <dgm:pt modelId="{41350865-6DF1-42FB-A46A-FFE79697EBCF}" type="pres">
      <dgm:prSet presAssocID="{04C83765-FA4D-C945-B349-CAF87867B8CC}" presName="rootComposite1" presStyleCnt="0"/>
      <dgm:spPr/>
    </dgm:pt>
    <dgm:pt modelId="{D481614D-1FBE-4235-988E-8A16AC52BB3E}" type="pres">
      <dgm:prSet presAssocID="{04C83765-FA4D-C945-B349-CAF87867B8CC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6DAD5A14-3091-46E0-AEEB-28CBD649D24B}" type="pres">
      <dgm:prSet presAssocID="{04C83765-FA4D-C945-B349-CAF87867B8CC}" presName="titleText1" presStyleLbl="fgAcc0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0046292-0932-4520-82BF-12CB600E905E}" type="pres">
      <dgm:prSet presAssocID="{04C83765-FA4D-C945-B349-CAF87867B8CC}" presName="rootConnector1" presStyleLbl="node1" presStyleIdx="0" presStyleCnt="4"/>
      <dgm:spPr/>
      <dgm:t>
        <a:bodyPr/>
        <a:lstStyle/>
        <a:p>
          <a:endParaRPr lang="en-US"/>
        </a:p>
      </dgm:t>
    </dgm:pt>
    <dgm:pt modelId="{207766D4-3130-4A6B-AC27-E58B648ECE67}" type="pres">
      <dgm:prSet presAssocID="{04C83765-FA4D-C945-B349-CAF87867B8CC}" presName="hierChild2" presStyleCnt="0"/>
      <dgm:spPr/>
    </dgm:pt>
    <dgm:pt modelId="{2F1CBC97-4F86-4C79-96E2-2A6CB44C2C41}" type="pres">
      <dgm:prSet presAssocID="{F283BFA7-A709-C847-8431-26373C80B6E5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CFCB00D-43ED-442B-87FC-93615AB1A07E}" type="pres">
      <dgm:prSet presAssocID="{9AF85308-69AE-5541-A462-B159E29CCCC5}" presName="hierRoot2" presStyleCnt="0">
        <dgm:presLayoutVars>
          <dgm:hierBranch val="init"/>
        </dgm:presLayoutVars>
      </dgm:prSet>
      <dgm:spPr/>
    </dgm:pt>
    <dgm:pt modelId="{E155C2C0-4685-4385-B6E2-321DA7FFF2FB}" type="pres">
      <dgm:prSet presAssocID="{9AF85308-69AE-5541-A462-B159E29CCCC5}" presName="rootComposite" presStyleCnt="0"/>
      <dgm:spPr/>
    </dgm:pt>
    <dgm:pt modelId="{41A73B06-2741-47C5-A229-BF8A87F7FDCD}" type="pres">
      <dgm:prSet presAssocID="{9AF85308-69AE-5541-A462-B159E29CCCC5}" presName="rootText" presStyleLbl="node1" presStyleIdx="0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A5C21594-B334-4F24-BC2C-3AAFC07C3123}" type="pres">
      <dgm:prSet presAssocID="{9AF85308-69AE-5541-A462-B159E29CCCC5}" presName="titleText2" presStyleLbl="fgAcc1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45AF41C6-0F8C-4B0E-8F23-D06D3B908394}" type="pres">
      <dgm:prSet presAssocID="{9AF85308-69AE-5541-A462-B159E29CCCC5}" presName="rootConnector" presStyleLbl="node2" presStyleIdx="0" presStyleCnt="0"/>
      <dgm:spPr/>
      <dgm:t>
        <a:bodyPr/>
        <a:lstStyle/>
        <a:p>
          <a:endParaRPr lang="en-US"/>
        </a:p>
      </dgm:t>
    </dgm:pt>
    <dgm:pt modelId="{0323E405-33A7-4A54-9C32-9C55934CB86B}" type="pres">
      <dgm:prSet presAssocID="{9AF85308-69AE-5541-A462-B159E29CCCC5}" presName="hierChild4" presStyleCnt="0"/>
      <dgm:spPr/>
    </dgm:pt>
    <dgm:pt modelId="{6924DE59-554E-4F13-8A21-2B720D90B022}" type="pres">
      <dgm:prSet presAssocID="{9AF85308-69AE-5541-A462-B159E29CCCC5}" presName="hierChild5" presStyleCnt="0"/>
      <dgm:spPr/>
    </dgm:pt>
    <dgm:pt modelId="{4F82742A-A525-4EAC-8B76-4E79B21B4CF8}" type="pres">
      <dgm:prSet presAssocID="{00CD9573-FFB4-4692-B6DC-5BA8DDF2B715}" presName="Name37" presStyleLbl="parChTrans1D2" presStyleIdx="1" presStyleCnt="4"/>
      <dgm:spPr/>
      <dgm:t>
        <a:bodyPr/>
        <a:lstStyle/>
        <a:p>
          <a:endParaRPr lang="en-US"/>
        </a:p>
      </dgm:t>
    </dgm:pt>
    <dgm:pt modelId="{32121151-D8B8-4150-857E-6A6158BF96BF}" type="pres">
      <dgm:prSet presAssocID="{B31608B6-2CB4-483F-ADDA-49F38FB45A25}" presName="hierRoot2" presStyleCnt="0">
        <dgm:presLayoutVars>
          <dgm:hierBranch val="init"/>
        </dgm:presLayoutVars>
      </dgm:prSet>
      <dgm:spPr/>
    </dgm:pt>
    <dgm:pt modelId="{FB2BF60C-EE25-4388-8138-00AD40A1238D}" type="pres">
      <dgm:prSet presAssocID="{B31608B6-2CB4-483F-ADDA-49F38FB45A25}" presName="rootComposite" presStyleCnt="0"/>
      <dgm:spPr/>
    </dgm:pt>
    <dgm:pt modelId="{87DC62F7-2A93-4786-A570-2F6C4FE763C2}" type="pres">
      <dgm:prSet presAssocID="{B31608B6-2CB4-483F-ADDA-49F38FB45A25}" presName="rootText" presStyleLbl="node1" presStyleIdx="1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D9E5A4FE-34F5-4371-A927-420820D8A315}" type="pres">
      <dgm:prSet presAssocID="{B31608B6-2CB4-483F-ADDA-49F38FB45A25}" presName="titleText2" presStyleLbl="fgAcc1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7432431-F55D-41F2-B485-B39786899288}" type="pres">
      <dgm:prSet presAssocID="{B31608B6-2CB4-483F-ADDA-49F38FB45A25}" presName="rootConnector" presStyleLbl="node2" presStyleIdx="0" presStyleCnt="0"/>
      <dgm:spPr/>
      <dgm:t>
        <a:bodyPr/>
        <a:lstStyle/>
        <a:p>
          <a:endParaRPr lang="en-US"/>
        </a:p>
      </dgm:t>
    </dgm:pt>
    <dgm:pt modelId="{006A9D02-7F3B-4A7A-BE06-1AAC770D4C15}" type="pres">
      <dgm:prSet presAssocID="{B31608B6-2CB4-483F-ADDA-49F38FB45A25}" presName="hierChild4" presStyleCnt="0"/>
      <dgm:spPr/>
    </dgm:pt>
    <dgm:pt modelId="{3E39C9AA-8BA9-475F-8D29-DF0BB4F3A325}" type="pres">
      <dgm:prSet presAssocID="{B31608B6-2CB4-483F-ADDA-49F38FB45A25}" presName="hierChild5" presStyleCnt="0"/>
      <dgm:spPr/>
    </dgm:pt>
    <dgm:pt modelId="{F818B6C3-6FAE-4F23-962F-CC3D4BBB38D2}" type="pres">
      <dgm:prSet presAssocID="{8B54D4BC-F3C7-C447-97E6-B95DA5C31133}" presName="Name37" presStyleLbl="parChTrans1D2" presStyleIdx="2" presStyleCnt="4"/>
      <dgm:spPr/>
      <dgm:t>
        <a:bodyPr/>
        <a:lstStyle/>
        <a:p>
          <a:endParaRPr lang="en-US"/>
        </a:p>
      </dgm:t>
    </dgm:pt>
    <dgm:pt modelId="{2F5EA85C-A000-4964-9A90-2DCD0449ABCD}" type="pres">
      <dgm:prSet presAssocID="{FC34F398-8308-FA40-AAC3-C5203012C76F}" presName="hierRoot2" presStyleCnt="0">
        <dgm:presLayoutVars>
          <dgm:hierBranch val="init"/>
        </dgm:presLayoutVars>
      </dgm:prSet>
      <dgm:spPr/>
    </dgm:pt>
    <dgm:pt modelId="{A9FFBB3A-3643-4C7F-9D68-835709602C9B}" type="pres">
      <dgm:prSet presAssocID="{FC34F398-8308-FA40-AAC3-C5203012C76F}" presName="rootComposite" presStyleCnt="0"/>
      <dgm:spPr/>
    </dgm:pt>
    <dgm:pt modelId="{463FEE3C-FB5E-4386-B8D7-140B4F56D7BA}" type="pres">
      <dgm:prSet presAssocID="{FC34F398-8308-FA40-AAC3-C5203012C76F}" presName="rootText" presStyleLbl="node1" presStyleIdx="2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30BF005C-41CE-4E9A-8199-CE40D7DFBC78}" type="pres">
      <dgm:prSet presAssocID="{FC34F398-8308-FA40-AAC3-C5203012C76F}" presName="titleText2" presStyleLbl="fgAcc1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DB71D1F-E9FB-42B3-B22E-24A78C7E608D}" type="pres">
      <dgm:prSet presAssocID="{FC34F398-8308-FA40-AAC3-C5203012C76F}" presName="rootConnector" presStyleLbl="node2" presStyleIdx="0" presStyleCnt="0"/>
      <dgm:spPr/>
      <dgm:t>
        <a:bodyPr/>
        <a:lstStyle/>
        <a:p>
          <a:endParaRPr lang="en-US"/>
        </a:p>
      </dgm:t>
    </dgm:pt>
    <dgm:pt modelId="{A4D3271C-AA4F-4E8C-9439-E1DB0DC8DB51}" type="pres">
      <dgm:prSet presAssocID="{FC34F398-8308-FA40-AAC3-C5203012C76F}" presName="hierChild4" presStyleCnt="0"/>
      <dgm:spPr/>
    </dgm:pt>
    <dgm:pt modelId="{FD6B6A95-31D1-4DA2-82F8-C27B83C955CB}" type="pres">
      <dgm:prSet presAssocID="{FC34F398-8308-FA40-AAC3-C5203012C76F}" presName="hierChild5" presStyleCnt="0"/>
      <dgm:spPr/>
    </dgm:pt>
    <dgm:pt modelId="{BB4789FF-E6B0-4EEF-A2C3-E25F2F0E8C89}" type="pres">
      <dgm:prSet presAssocID="{67CF6515-370E-4C6D-AC55-9990BFBA9CE1}" presName="Name37" presStyleLbl="parChTrans1D2" presStyleIdx="3" presStyleCnt="4"/>
      <dgm:spPr/>
      <dgm:t>
        <a:bodyPr/>
        <a:lstStyle/>
        <a:p>
          <a:endParaRPr lang="en-US"/>
        </a:p>
      </dgm:t>
    </dgm:pt>
    <dgm:pt modelId="{495DA42C-9C30-41BC-90DE-AE4D2BF24788}" type="pres">
      <dgm:prSet presAssocID="{525EC1AC-C9F5-402B-BAC0-47F416B9A3B6}" presName="hierRoot2" presStyleCnt="0">
        <dgm:presLayoutVars>
          <dgm:hierBranch val="init"/>
        </dgm:presLayoutVars>
      </dgm:prSet>
      <dgm:spPr/>
    </dgm:pt>
    <dgm:pt modelId="{728D0C18-6E22-4E70-B14C-CB9AAAF6E4F1}" type="pres">
      <dgm:prSet presAssocID="{525EC1AC-C9F5-402B-BAC0-47F416B9A3B6}" presName="rootComposite" presStyleCnt="0"/>
      <dgm:spPr/>
    </dgm:pt>
    <dgm:pt modelId="{70346AA6-0A63-43C6-B235-F3FB9B1C7D47}" type="pres">
      <dgm:prSet presAssocID="{525EC1AC-C9F5-402B-BAC0-47F416B9A3B6}" presName="rootText" presStyleLbl="node1" presStyleIdx="3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080DB161-49A4-4438-A8DD-F21483E8CCF5}" type="pres">
      <dgm:prSet presAssocID="{525EC1AC-C9F5-402B-BAC0-47F416B9A3B6}" presName="titleText2" presStyleLbl="fgAcc1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D6F0BEB-CB21-4311-9006-20F755C1A70D}" type="pres">
      <dgm:prSet presAssocID="{525EC1AC-C9F5-402B-BAC0-47F416B9A3B6}" presName="rootConnector" presStyleLbl="node2" presStyleIdx="0" presStyleCnt="0"/>
      <dgm:spPr/>
      <dgm:t>
        <a:bodyPr/>
        <a:lstStyle/>
        <a:p>
          <a:endParaRPr lang="en-US"/>
        </a:p>
      </dgm:t>
    </dgm:pt>
    <dgm:pt modelId="{B67D3954-87CB-4B8D-8908-7A40F73D7871}" type="pres">
      <dgm:prSet presAssocID="{525EC1AC-C9F5-402B-BAC0-47F416B9A3B6}" presName="hierChild4" presStyleCnt="0"/>
      <dgm:spPr/>
    </dgm:pt>
    <dgm:pt modelId="{E3860424-D97D-4544-A73C-F2B2961C845A}" type="pres">
      <dgm:prSet presAssocID="{525EC1AC-C9F5-402B-BAC0-47F416B9A3B6}" presName="hierChild5" presStyleCnt="0"/>
      <dgm:spPr/>
    </dgm:pt>
    <dgm:pt modelId="{AA60DF5D-07F8-4D51-A5D1-838762913912}" type="pres">
      <dgm:prSet presAssocID="{04C83765-FA4D-C945-B349-CAF87867B8CC}" presName="hierChild3" presStyleCnt="0"/>
      <dgm:spPr/>
    </dgm:pt>
  </dgm:ptLst>
  <dgm:cxnLst>
    <dgm:cxn modelId="{B84586F8-5F7F-41E4-AFEA-AAE25A643F9D}" type="presOf" srcId="{8B54D4BC-F3C7-C447-97E6-B95DA5C31133}" destId="{F818B6C3-6FAE-4F23-962F-CC3D4BBB38D2}" srcOrd="0" destOrd="0" presId="urn:microsoft.com/office/officeart/2008/layout/NameandTitleOrganizationalChart"/>
    <dgm:cxn modelId="{601D3A81-AF6C-4FB8-8453-B11B9CF7CD72}" type="presOf" srcId="{B31608B6-2CB4-483F-ADDA-49F38FB45A25}" destId="{87DC62F7-2A93-4786-A570-2F6C4FE763C2}" srcOrd="0" destOrd="0" presId="urn:microsoft.com/office/officeart/2008/layout/NameandTitleOrganizationalChart"/>
    <dgm:cxn modelId="{F8DC761B-336C-4E2E-969D-D81D34D81383}" type="presOf" srcId="{3268F3BA-45EE-034B-AE99-34CC1792E746}" destId="{30BF005C-41CE-4E9A-8199-CE40D7DFBC78}" srcOrd="0" destOrd="0" presId="urn:microsoft.com/office/officeart/2008/layout/NameandTitleOrganizationalChart"/>
    <dgm:cxn modelId="{52B1775E-9238-453D-B0A8-0ACE1AE62B20}" srcId="{04C83765-FA4D-C945-B349-CAF87867B8CC}" destId="{B31608B6-2CB4-483F-ADDA-49F38FB45A25}" srcOrd="1" destOrd="0" parTransId="{00CD9573-FFB4-4692-B6DC-5BA8DDF2B715}" sibTransId="{8C783002-3AB9-47D8-AC99-4DBAF72D37F6}"/>
    <dgm:cxn modelId="{74C9461B-9820-409B-8E4B-EB116C48AA52}" srcId="{04C83765-FA4D-C945-B349-CAF87867B8CC}" destId="{525EC1AC-C9F5-402B-BAC0-47F416B9A3B6}" srcOrd="3" destOrd="0" parTransId="{67CF6515-370E-4C6D-AC55-9990BFBA9CE1}" sibTransId="{C8FCC378-5FA9-41B5-8163-8A58F3FE137F}"/>
    <dgm:cxn modelId="{F991C73E-945A-4899-ABA3-DA794507F879}" type="presOf" srcId="{525EC1AC-C9F5-402B-BAC0-47F416B9A3B6}" destId="{70346AA6-0A63-43C6-B235-F3FB9B1C7D47}" srcOrd="0" destOrd="0" presId="urn:microsoft.com/office/officeart/2008/layout/NameandTitleOrganizationalChart"/>
    <dgm:cxn modelId="{72F3B256-7545-4A7D-A409-8ED996142C3F}" type="presOf" srcId="{9AF85308-69AE-5541-A462-B159E29CCCC5}" destId="{45AF41C6-0F8C-4B0E-8F23-D06D3B908394}" srcOrd="1" destOrd="0" presId="urn:microsoft.com/office/officeart/2008/layout/NameandTitleOrganizationalChart"/>
    <dgm:cxn modelId="{D71FDB47-6CD0-46B3-8E20-B774739A3F91}" type="presOf" srcId="{F283BFA7-A709-C847-8431-26373C80B6E5}" destId="{2F1CBC97-4F86-4C79-96E2-2A6CB44C2C41}" srcOrd="0" destOrd="0" presId="urn:microsoft.com/office/officeart/2008/layout/NameandTitleOrganizationalChart"/>
    <dgm:cxn modelId="{CA6A716D-E964-4A4B-AE0C-F6657BDAC505}" type="presOf" srcId="{5A9F4F76-A515-6745-B189-04FC13CDDD58}" destId="{6DAD5A14-3091-46E0-AEEB-28CBD649D24B}" srcOrd="0" destOrd="0" presId="urn:microsoft.com/office/officeart/2008/layout/NameandTitleOrganizationalChart"/>
    <dgm:cxn modelId="{93FF6B60-B821-427D-9B8D-ED3BC9154627}" type="presOf" srcId="{67CF6515-370E-4C6D-AC55-9990BFBA9CE1}" destId="{BB4789FF-E6B0-4EEF-A2C3-E25F2F0E8C89}" srcOrd="0" destOrd="0" presId="urn:microsoft.com/office/officeart/2008/layout/NameandTitleOrganizationalChart"/>
    <dgm:cxn modelId="{91195C27-0721-4372-8CCF-6C65F540FDD8}" type="presOf" srcId="{525EC1AC-C9F5-402B-BAC0-47F416B9A3B6}" destId="{8D6F0BEB-CB21-4311-9006-20F755C1A70D}" srcOrd="1" destOrd="0" presId="urn:microsoft.com/office/officeart/2008/layout/NameandTitleOrganizationalChart"/>
    <dgm:cxn modelId="{E62D89BD-CC77-46E5-A4F5-51D5288D7690}" type="presOf" srcId="{E55CB977-7D7A-1C44-8C7E-DB5032C8AA7D}" destId="{A5C21594-B334-4F24-BC2C-3AAFC07C3123}" srcOrd="0" destOrd="0" presId="urn:microsoft.com/office/officeart/2008/layout/NameandTitleOrganizationalChart"/>
    <dgm:cxn modelId="{737F4E88-1F05-1F4B-B292-C6D762B81E0F}" srcId="{04C83765-FA4D-C945-B349-CAF87867B8CC}" destId="{9AF85308-69AE-5541-A462-B159E29CCCC5}" srcOrd="0" destOrd="0" parTransId="{F283BFA7-A709-C847-8431-26373C80B6E5}" sibTransId="{E55CB977-7D7A-1C44-8C7E-DB5032C8AA7D}"/>
    <dgm:cxn modelId="{4217EC16-067A-EB41-9A33-277299BBB977}" srcId="{AC2F56AA-6054-0841-801D-9365A715D8D6}" destId="{04C83765-FA4D-C945-B349-CAF87867B8CC}" srcOrd="0" destOrd="0" parTransId="{143D692A-92AD-C348-89DD-12FD2354CE15}" sibTransId="{5A9F4F76-A515-6745-B189-04FC13CDDD58}"/>
    <dgm:cxn modelId="{EFF72914-AA57-4FEA-AD57-138D6D59BE4E}" type="presOf" srcId="{04C83765-FA4D-C945-B349-CAF87867B8CC}" destId="{10046292-0932-4520-82BF-12CB600E905E}" srcOrd="1" destOrd="0" presId="urn:microsoft.com/office/officeart/2008/layout/NameandTitleOrganizationalChart"/>
    <dgm:cxn modelId="{0C16264F-CC48-4CDD-BB97-76C833EFEF27}" type="presOf" srcId="{04C83765-FA4D-C945-B349-CAF87867B8CC}" destId="{D481614D-1FBE-4235-988E-8A16AC52BB3E}" srcOrd="0" destOrd="0" presId="urn:microsoft.com/office/officeart/2008/layout/NameandTitleOrganizationalChart"/>
    <dgm:cxn modelId="{867F5042-B987-4312-9606-4FDC92097851}" type="presOf" srcId="{AC2F56AA-6054-0841-801D-9365A715D8D6}" destId="{BCC049C3-292B-40A7-ABC6-86082A155671}" srcOrd="0" destOrd="0" presId="urn:microsoft.com/office/officeart/2008/layout/NameandTitleOrganizationalChart"/>
    <dgm:cxn modelId="{95DC4F8C-61A0-4DDA-9535-2EBB84956E46}" type="presOf" srcId="{FC34F398-8308-FA40-AAC3-C5203012C76F}" destId="{463FEE3C-FB5E-4386-B8D7-140B4F56D7BA}" srcOrd="0" destOrd="0" presId="urn:microsoft.com/office/officeart/2008/layout/NameandTitleOrganizationalChart"/>
    <dgm:cxn modelId="{28D99F9D-2244-4D6F-BE8E-B63693947494}" type="presOf" srcId="{B31608B6-2CB4-483F-ADDA-49F38FB45A25}" destId="{37432431-F55D-41F2-B485-B39786899288}" srcOrd="1" destOrd="0" presId="urn:microsoft.com/office/officeart/2008/layout/NameandTitleOrganizationalChart"/>
    <dgm:cxn modelId="{25B1EA11-9100-4BF5-AD66-0F4B7DA32685}" type="presOf" srcId="{FC34F398-8308-FA40-AAC3-C5203012C76F}" destId="{ADB71D1F-E9FB-42B3-B22E-24A78C7E608D}" srcOrd="1" destOrd="0" presId="urn:microsoft.com/office/officeart/2008/layout/NameandTitleOrganizationalChart"/>
    <dgm:cxn modelId="{3D160192-A9EE-4A5D-8428-DF0F802393D0}" type="presOf" srcId="{C8FCC378-5FA9-41B5-8163-8A58F3FE137F}" destId="{080DB161-49A4-4438-A8DD-F21483E8CCF5}" srcOrd="0" destOrd="0" presId="urn:microsoft.com/office/officeart/2008/layout/NameandTitleOrganizationalChart"/>
    <dgm:cxn modelId="{8D2A1C0E-0AB6-4B3E-A85C-B950EC6EFB3C}" type="presOf" srcId="{8C783002-3AB9-47D8-AC99-4DBAF72D37F6}" destId="{D9E5A4FE-34F5-4371-A927-420820D8A315}" srcOrd="0" destOrd="0" presId="urn:microsoft.com/office/officeart/2008/layout/NameandTitleOrganizationalChart"/>
    <dgm:cxn modelId="{D6460DE0-D8B2-4AF1-982A-330413714F14}" type="presOf" srcId="{9AF85308-69AE-5541-A462-B159E29CCCC5}" destId="{41A73B06-2741-47C5-A229-BF8A87F7FDCD}" srcOrd="0" destOrd="0" presId="urn:microsoft.com/office/officeart/2008/layout/NameandTitleOrganizationalChart"/>
    <dgm:cxn modelId="{9D281A86-1403-6F43-91AC-A4BFEF0A8B6B}" srcId="{04C83765-FA4D-C945-B349-CAF87867B8CC}" destId="{FC34F398-8308-FA40-AAC3-C5203012C76F}" srcOrd="2" destOrd="0" parTransId="{8B54D4BC-F3C7-C447-97E6-B95DA5C31133}" sibTransId="{3268F3BA-45EE-034B-AE99-34CC1792E746}"/>
    <dgm:cxn modelId="{A1A1F71C-8178-478E-80C4-80F89B80B88F}" type="presOf" srcId="{00CD9573-FFB4-4692-B6DC-5BA8DDF2B715}" destId="{4F82742A-A525-4EAC-8B76-4E79B21B4CF8}" srcOrd="0" destOrd="0" presId="urn:microsoft.com/office/officeart/2008/layout/NameandTitleOrganizationalChart"/>
    <dgm:cxn modelId="{2B6258E0-9415-4F8B-A181-F58A0354793A}" type="presParOf" srcId="{BCC049C3-292B-40A7-ABC6-86082A155671}" destId="{C04CB03E-B72D-40E2-B4D2-60AA0351CF02}" srcOrd="0" destOrd="0" presId="urn:microsoft.com/office/officeart/2008/layout/NameandTitleOrganizationalChart"/>
    <dgm:cxn modelId="{E07EB3DA-BE50-4138-8846-B3247BEB6549}" type="presParOf" srcId="{C04CB03E-B72D-40E2-B4D2-60AA0351CF02}" destId="{41350865-6DF1-42FB-A46A-FFE79697EBCF}" srcOrd="0" destOrd="0" presId="urn:microsoft.com/office/officeart/2008/layout/NameandTitleOrganizationalChart"/>
    <dgm:cxn modelId="{97E8C1B3-E4A0-4DD0-8D1A-13725652FF90}" type="presParOf" srcId="{41350865-6DF1-42FB-A46A-FFE79697EBCF}" destId="{D481614D-1FBE-4235-988E-8A16AC52BB3E}" srcOrd="0" destOrd="0" presId="urn:microsoft.com/office/officeart/2008/layout/NameandTitleOrganizationalChart"/>
    <dgm:cxn modelId="{2AA21122-608D-496B-932A-C7F8D18ED27F}" type="presParOf" srcId="{41350865-6DF1-42FB-A46A-FFE79697EBCF}" destId="{6DAD5A14-3091-46E0-AEEB-28CBD649D24B}" srcOrd="1" destOrd="0" presId="urn:microsoft.com/office/officeart/2008/layout/NameandTitleOrganizationalChart"/>
    <dgm:cxn modelId="{D38337D1-429C-4510-A167-503B75892589}" type="presParOf" srcId="{41350865-6DF1-42FB-A46A-FFE79697EBCF}" destId="{10046292-0932-4520-82BF-12CB600E905E}" srcOrd="2" destOrd="0" presId="urn:microsoft.com/office/officeart/2008/layout/NameandTitleOrganizationalChart"/>
    <dgm:cxn modelId="{5C8D87AE-9608-4B3B-91BD-5CE11953CD99}" type="presParOf" srcId="{C04CB03E-B72D-40E2-B4D2-60AA0351CF02}" destId="{207766D4-3130-4A6B-AC27-E58B648ECE67}" srcOrd="1" destOrd="0" presId="urn:microsoft.com/office/officeart/2008/layout/NameandTitleOrganizationalChart"/>
    <dgm:cxn modelId="{9B85F4DC-57F3-4866-A160-74FBD83FE602}" type="presParOf" srcId="{207766D4-3130-4A6B-AC27-E58B648ECE67}" destId="{2F1CBC97-4F86-4C79-96E2-2A6CB44C2C41}" srcOrd="0" destOrd="0" presId="urn:microsoft.com/office/officeart/2008/layout/NameandTitleOrganizationalChart"/>
    <dgm:cxn modelId="{C8F24F55-D356-4BAD-A004-45541E17EF16}" type="presParOf" srcId="{207766D4-3130-4A6B-AC27-E58B648ECE67}" destId="{9CFCB00D-43ED-442B-87FC-93615AB1A07E}" srcOrd="1" destOrd="0" presId="urn:microsoft.com/office/officeart/2008/layout/NameandTitleOrganizationalChart"/>
    <dgm:cxn modelId="{7850F1A6-04BA-4BD6-B00E-D5E3CADE18CE}" type="presParOf" srcId="{9CFCB00D-43ED-442B-87FC-93615AB1A07E}" destId="{E155C2C0-4685-4385-B6E2-321DA7FFF2FB}" srcOrd="0" destOrd="0" presId="urn:microsoft.com/office/officeart/2008/layout/NameandTitleOrganizationalChart"/>
    <dgm:cxn modelId="{94546C7B-D622-4312-896E-D3B9D6781FDB}" type="presParOf" srcId="{E155C2C0-4685-4385-B6E2-321DA7FFF2FB}" destId="{41A73B06-2741-47C5-A229-BF8A87F7FDCD}" srcOrd="0" destOrd="0" presId="urn:microsoft.com/office/officeart/2008/layout/NameandTitleOrganizationalChart"/>
    <dgm:cxn modelId="{E865F18E-50C0-4B0F-AED3-8DE8BD32FD6B}" type="presParOf" srcId="{E155C2C0-4685-4385-B6E2-321DA7FFF2FB}" destId="{A5C21594-B334-4F24-BC2C-3AAFC07C3123}" srcOrd="1" destOrd="0" presId="urn:microsoft.com/office/officeart/2008/layout/NameandTitleOrganizationalChart"/>
    <dgm:cxn modelId="{2CB68E25-85EB-48F5-B280-0C0DC8224EAA}" type="presParOf" srcId="{E155C2C0-4685-4385-B6E2-321DA7FFF2FB}" destId="{45AF41C6-0F8C-4B0E-8F23-D06D3B908394}" srcOrd="2" destOrd="0" presId="urn:microsoft.com/office/officeart/2008/layout/NameandTitleOrganizationalChart"/>
    <dgm:cxn modelId="{C5468535-0278-4037-9641-B0D7244DBF05}" type="presParOf" srcId="{9CFCB00D-43ED-442B-87FC-93615AB1A07E}" destId="{0323E405-33A7-4A54-9C32-9C55934CB86B}" srcOrd="1" destOrd="0" presId="urn:microsoft.com/office/officeart/2008/layout/NameandTitleOrganizationalChart"/>
    <dgm:cxn modelId="{41701A4E-EE7C-4DC1-BFC9-25AE6359EB5C}" type="presParOf" srcId="{9CFCB00D-43ED-442B-87FC-93615AB1A07E}" destId="{6924DE59-554E-4F13-8A21-2B720D90B022}" srcOrd="2" destOrd="0" presId="urn:microsoft.com/office/officeart/2008/layout/NameandTitleOrganizationalChart"/>
    <dgm:cxn modelId="{E75F9E62-0B8B-4F2D-A82D-E1EB60C988F6}" type="presParOf" srcId="{207766D4-3130-4A6B-AC27-E58B648ECE67}" destId="{4F82742A-A525-4EAC-8B76-4E79B21B4CF8}" srcOrd="2" destOrd="0" presId="urn:microsoft.com/office/officeart/2008/layout/NameandTitleOrganizationalChart"/>
    <dgm:cxn modelId="{F91E3F96-32D6-42C7-9967-D7D2F90A692D}" type="presParOf" srcId="{207766D4-3130-4A6B-AC27-E58B648ECE67}" destId="{32121151-D8B8-4150-857E-6A6158BF96BF}" srcOrd="3" destOrd="0" presId="urn:microsoft.com/office/officeart/2008/layout/NameandTitleOrganizationalChart"/>
    <dgm:cxn modelId="{982930F4-E276-48B0-B509-E1505FD58665}" type="presParOf" srcId="{32121151-D8B8-4150-857E-6A6158BF96BF}" destId="{FB2BF60C-EE25-4388-8138-00AD40A1238D}" srcOrd="0" destOrd="0" presId="urn:microsoft.com/office/officeart/2008/layout/NameandTitleOrganizationalChart"/>
    <dgm:cxn modelId="{D0C753BF-20A3-4ACC-9768-7449C5D856DB}" type="presParOf" srcId="{FB2BF60C-EE25-4388-8138-00AD40A1238D}" destId="{87DC62F7-2A93-4786-A570-2F6C4FE763C2}" srcOrd="0" destOrd="0" presId="urn:microsoft.com/office/officeart/2008/layout/NameandTitleOrganizationalChart"/>
    <dgm:cxn modelId="{D807E84E-C94B-48DD-AE7F-7794C56467C1}" type="presParOf" srcId="{FB2BF60C-EE25-4388-8138-00AD40A1238D}" destId="{D9E5A4FE-34F5-4371-A927-420820D8A315}" srcOrd="1" destOrd="0" presId="urn:microsoft.com/office/officeart/2008/layout/NameandTitleOrganizationalChart"/>
    <dgm:cxn modelId="{057DEF96-E836-4873-99A8-ADAA74F8D996}" type="presParOf" srcId="{FB2BF60C-EE25-4388-8138-00AD40A1238D}" destId="{37432431-F55D-41F2-B485-B39786899288}" srcOrd="2" destOrd="0" presId="urn:microsoft.com/office/officeart/2008/layout/NameandTitleOrganizationalChart"/>
    <dgm:cxn modelId="{E56FC325-DEA5-4DBB-A2B6-B8186D1ED054}" type="presParOf" srcId="{32121151-D8B8-4150-857E-6A6158BF96BF}" destId="{006A9D02-7F3B-4A7A-BE06-1AAC770D4C15}" srcOrd="1" destOrd="0" presId="urn:microsoft.com/office/officeart/2008/layout/NameandTitleOrganizationalChart"/>
    <dgm:cxn modelId="{30225119-B750-416F-A67A-992B21F4B818}" type="presParOf" srcId="{32121151-D8B8-4150-857E-6A6158BF96BF}" destId="{3E39C9AA-8BA9-475F-8D29-DF0BB4F3A325}" srcOrd="2" destOrd="0" presId="urn:microsoft.com/office/officeart/2008/layout/NameandTitleOrganizationalChart"/>
    <dgm:cxn modelId="{EC8B1781-30F7-4263-A187-FD47D92BAC54}" type="presParOf" srcId="{207766D4-3130-4A6B-AC27-E58B648ECE67}" destId="{F818B6C3-6FAE-4F23-962F-CC3D4BBB38D2}" srcOrd="4" destOrd="0" presId="urn:microsoft.com/office/officeart/2008/layout/NameandTitleOrganizationalChart"/>
    <dgm:cxn modelId="{F4297C0E-9CAA-429D-B64A-DF018F5F4F84}" type="presParOf" srcId="{207766D4-3130-4A6B-AC27-E58B648ECE67}" destId="{2F5EA85C-A000-4964-9A90-2DCD0449ABCD}" srcOrd="5" destOrd="0" presId="urn:microsoft.com/office/officeart/2008/layout/NameandTitleOrganizationalChart"/>
    <dgm:cxn modelId="{098078AA-DAAD-42CA-9015-5233323A559F}" type="presParOf" srcId="{2F5EA85C-A000-4964-9A90-2DCD0449ABCD}" destId="{A9FFBB3A-3643-4C7F-9D68-835709602C9B}" srcOrd="0" destOrd="0" presId="urn:microsoft.com/office/officeart/2008/layout/NameandTitleOrganizationalChart"/>
    <dgm:cxn modelId="{B8E0ED06-049E-469E-ACF2-FBECD99B39A1}" type="presParOf" srcId="{A9FFBB3A-3643-4C7F-9D68-835709602C9B}" destId="{463FEE3C-FB5E-4386-B8D7-140B4F56D7BA}" srcOrd="0" destOrd="0" presId="urn:microsoft.com/office/officeart/2008/layout/NameandTitleOrganizationalChart"/>
    <dgm:cxn modelId="{21CC2569-9231-46AD-8F5B-6AFEE1B19154}" type="presParOf" srcId="{A9FFBB3A-3643-4C7F-9D68-835709602C9B}" destId="{30BF005C-41CE-4E9A-8199-CE40D7DFBC78}" srcOrd="1" destOrd="0" presId="urn:microsoft.com/office/officeart/2008/layout/NameandTitleOrganizationalChart"/>
    <dgm:cxn modelId="{7D204F7C-3D33-493C-886D-DFD313443F14}" type="presParOf" srcId="{A9FFBB3A-3643-4C7F-9D68-835709602C9B}" destId="{ADB71D1F-E9FB-42B3-B22E-24A78C7E608D}" srcOrd="2" destOrd="0" presId="urn:microsoft.com/office/officeart/2008/layout/NameandTitleOrganizationalChart"/>
    <dgm:cxn modelId="{A172BABC-6668-4C88-8600-22758F50D076}" type="presParOf" srcId="{2F5EA85C-A000-4964-9A90-2DCD0449ABCD}" destId="{A4D3271C-AA4F-4E8C-9439-E1DB0DC8DB51}" srcOrd="1" destOrd="0" presId="urn:microsoft.com/office/officeart/2008/layout/NameandTitleOrganizationalChart"/>
    <dgm:cxn modelId="{6B9FD961-1625-4FDF-B4C8-A957269D7B04}" type="presParOf" srcId="{2F5EA85C-A000-4964-9A90-2DCD0449ABCD}" destId="{FD6B6A95-31D1-4DA2-82F8-C27B83C955CB}" srcOrd="2" destOrd="0" presId="urn:microsoft.com/office/officeart/2008/layout/NameandTitleOrganizationalChart"/>
    <dgm:cxn modelId="{CA592828-F8E8-4077-B8D0-08C51CF91177}" type="presParOf" srcId="{207766D4-3130-4A6B-AC27-E58B648ECE67}" destId="{BB4789FF-E6B0-4EEF-A2C3-E25F2F0E8C89}" srcOrd="6" destOrd="0" presId="urn:microsoft.com/office/officeart/2008/layout/NameandTitleOrganizationalChart"/>
    <dgm:cxn modelId="{6C893E94-C9C4-47D1-BDCD-30243DB3A83B}" type="presParOf" srcId="{207766D4-3130-4A6B-AC27-E58B648ECE67}" destId="{495DA42C-9C30-41BC-90DE-AE4D2BF24788}" srcOrd="7" destOrd="0" presId="urn:microsoft.com/office/officeart/2008/layout/NameandTitleOrganizationalChart"/>
    <dgm:cxn modelId="{50BD886E-52A9-4279-BD8B-12681E6EE42F}" type="presParOf" srcId="{495DA42C-9C30-41BC-90DE-AE4D2BF24788}" destId="{728D0C18-6E22-4E70-B14C-CB9AAAF6E4F1}" srcOrd="0" destOrd="0" presId="urn:microsoft.com/office/officeart/2008/layout/NameandTitleOrganizationalChart"/>
    <dgm:cxn modelId="{94B72E8E-9FBB-4FBD-8042-B7B44A463ABC}" type="presParOf" srcId="{728D0C18-6E22-4E70-B14C-CB9AAAF6E4F1}" destId="{70346AA6-0A63-43C6-B235-F3FB9B1C7D47}" srcOrd="0" destOrd="0" presId="urn:microsoft.com/office/officeart/2008/layout/NameandTitleOrganizationalChart"/>
    <dgm:cxn modelId="{261B23DD-83D1-4CF5-9C67-D4E7463A2C86}" type="presParOf" srcId="{728D0C18-6E22-4E70-B14C-CB9AAAF6E4F1}" destId="{080DB161-49A4-4438-A8DD-F21483E8CCF5}" srcOrd="1" destOrd="0" presId="urn:microsoft.com/office/officeart/2008/layout/NameandTitleOrganizationalChart"/>
    <dgm:cxn modelId="{ADFB6F22-CD76-4388-A995-DF01D16EA6F2}" type="presParOf" srcId="{728D0C18-6E22-4E70-B14C-CB9AAAF6E4F1}" destId="{8D6F0BEB-CB21-4311-9006-20F755C1A70D}" srcOrd="2" destOrd="0" presId="urn:microsoft.com/office/officeart/2008/layout/NameandTitleOrganizationalChart"/>
    <dgm:cxn modelId="{CFD42381-3A4D-4397-8D78-12A352F986E5}" type="presParOf" srcId="{495DA42C-9C30-41BC-90DE-AE4D2BF24788}" destId="{B67D3954-87CB-4B8D-8908-7A40F73D7871}" srcOrd="1" destOrd="0" presId="urn:microsoft.com/office/officeart/2008/layout/NameandTitleOrganizationalChart"/>
    <dgm:cxn modelId="{CC7C5FEB-C777-4766-8A41-EB116EA3B8BC}" type="presParOf" srcId="{495DA42C-9C30-41BC-90DE-AE4D2BF24788}" destId="{E3860424-D97D-4544-A73C-F2B2961C845A}" srcOrd="2" destOrd="0" presId="urn:microsoft.com/office/officeart/2008/layout/NameandTitleOrganizationalChart"/>
    <dgm:cxn modelId="{61452D0D-6469-4621-954D-BBDCFD1276A7}" type="presParOf" srcId="{C04CB03E-B72D-40E2-B4D2-60AA0351CF02}" destId="{AA60DF5D-07F8-4D51-A5D1-838762913912}" srcOrd="2" destOrd="0" presId="urn:microsoft.com/office/officeart/2008/layout/NameandTitleOrganizationalChar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C2F56AA-6054-0841-801D-9365A715D8D6}" type="doc">
      <dgm:prSet loTypeId="urn:microsoft.com/office/officeart/2005/8/layout/hierarchy6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C83765-FA4D-C945-B349-CAF87867B8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dirty="0" smtClean="0"/>
            <a:t>Transformation </a:t>
          </a:r>
          <a:endParaRPr lang="en-US" sz="1100" dirty="0"/>
        </a:p>
      </dgm:t>
    </dgm:pt>
    <dgm:pt modelId="{143D692A-92AD-C348-89DD-12FD2354CE15}" type="parTrans" cxnId="{4217EC16-067A-EB41-9A33-277299BBB977}">
      <dgm:prSet/>
      <dgm:spPr/>
      <dgm:t>
        <a:bodyPr/>
        <a:lstStyle/>
        <a:p>
          <a:endParaRPr lang="en-US" sz="1100"/>
        </a:p>
      </dgm:t>
    </dgm:pt>
    <dgm:pt modelId="{5A9F4F76-A515-6745-B189-04FC13CDDD58}" type="sibTrans" cxnId="{4217EC16-067A-EB41-9A33-277299BBB977}">
      <dgm:prSet/>
      <dgm:spPr/>
      <dgm:t>
        <a:bodyPr/>
        <a:lstStyle/>
        <a:p>
          <a:endParaRPr lang="en-US" sz="1100"/>
        </a:p>
      </dgm:t>
    </dgm:pt>
    <dgm:pt modelId="{9AF85308-69AE-5541-A462-B159E29CCC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dirty="0" smtClean="0"/>
            <a:t>Program Management</a:t>
          </a:r>
          <a:endParaRPr lang="en-US" sz="1100" dirty="0"/>
        </a:p>
      </dgm:t>
    </dgm:pt>
    <dgm:pt modelId="{F283BFA7-A709-C847-8431-26373C80B6E5}" type="parTrans" cxnId="{737F4E88-1F05-1F4B-B292-C6D762B81E0F}">
      <dgm:prSet/>
      <dgm:spPr/>
      <dgm:t>
        <a:bodyPr/>
        <a:lstStyle/>
        <a:p>
          <a:endParaRPr lang="en-US" sz="1100"/>
        </a:p>
      </dgm:t>
    </dgm:pt>
    <dgm:pt modelId="{E55CB977-7D7A-1C44-8C7E-DB5032C8AA7D}" type="sibTrans" cxnId="{737F4E88-1F05-1F4B-B292-C6D762B81E0F}">
      <dgm:prSet/>
      <dgm:spPr/>
      <dgm:t>
        <a:bodyPr/>
        <a:lstStyle/>
        <a:p>
          <a:endParaRPr lang="en-US" sz="1100"/>
        </a:p>
      </dgm:t>
    </dgm:pt>
    <dgm:pt modelId="{FC34F398-8308-FA40-AAC3-C5203012C76F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dirty="0" smtClean="0"/>
            <a:t>Infrastructure and Support</a:t>
          </a:r>
          <a:endParaRPr lang="en-US" sz="1100" dirty="0"/>
        </a:p>
      </dgm:t>
    </dgm:pt>
    <dgm:pt modelId="{8B54D4BC-F3C7-C447-97E6-B95DA5C31133}" type="parTrans" cxnId="{9D281A86-1403-6F43-91AC-A4BFEF0A8B6B}">
      <dgm:prSet/>
      <dgm:spPr/>
      <dgm:t>
        <a:bodyPr/>
        <a:lstStyle/>
        <a:p>
          <a:endParaRPr lang="en-US" sz="1100"/>
        </a:p>
      </dgm:t>
    </dgm:pt>
    <dgm:pt modelId="{3268F3BA-45EE-034B-AE99-34CC1792E746}" type="sibTrans" cxnId="{9D281A86-1403-6F43-91AC-A4BFEF0A8B6B}">
      <dgm:prSet/>
      <dgm:spPr/>
      <dgm:t>
        <a:bodyPr/>
        <a:lstStyle/>
        <a:p>
          <a:endParaRPr lang="en-US" sz="1100"/>
        </a:p>
      </dgm:t>
    </dgm:pt>
    <dgm:pt modelId="{0551AC74-5B47-AB43-A823-2A188556483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dirty="0" smtClean="0"/>
            <a:t>Delivery</a:t>
          </a:r>
          <a:endParaRPr lang="en-US" sz="1100" dirty="0"/>
        </a:p>
      </dgm:t>
    </dgm:pt>
    <dgm:pt modelId="{02018BAF-3BA9-7047-8BDA-4C178F4147AE}" type="parTrans" cxnId="{CF0E7A5F-D07B-0948-8FBB-EEFBC5D989E7}">
      <dgm:prSet/>
      <dgm:spPr/>
      <dgm:t>
        <a:bodyPr/>
        <a:lstStyle/>
        <a:p>
          <a:endParaRPr lang="en-US" sz="1100"/>
        </a:p>
      </dgm:t>
    </dgm:pt>
    <dgm:pt modelId="{72BD13B1-E157-E440-BD2A-3369FC2EF68A}" type="sibTrans" cxnId="{CF0E7A5F-D07B-0948-8FBB-EEFBC5D989E7}">
      <dgm:prSet/>
      <dgm:spPr/>
      <dgm:t>
        <a:bodyPr/>
        <a:lstStyle/>
        <a:p>
          <a:endParaRPr lang="en-US" sz="1100"/>
        </a:p>
      </dgm:t>
    </dgm:pt>
    <dgm:pt modelId="{525EC1AC-C9F5-402B-BAC0-47F416B9A3B6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dirty="0" smtClean="0"/>
            <a:t>Architecture</a:t>
          </a:r>
          <a:endParaRPr lang="en-US" sz="1100" dirty="0"/>
        </a:p>
      </dgm:t>
    </dgm:pt>
    <dgm:pt modelId="{67CF6515-370E-4C6D-AC55-9990BFBA9CE1}" type="parTrans" cxnId="{74C9461B-9820-409B-8E4B-EB116C48AA52}">
      <dgm:prSet/>
      <dgm:spPr/>
      <dgm:t>
        <a:bodyPr/>
        <a:lstStyle/>
        <a:p>
          <a:endParaRPr lang="en-US" sz="1100"/>
        </a:p>
      </dgm:t>
    </dgm:pt>
    <dgm:pt modelId="{C8FCC378-5FA9-41B5-8163-8A58F3FE137F}" type="sibTrans" cxnId="{74C9461B-9820-409B-8E4B-EB116C48AA52}">
      <dgm:prSet/>
      <dgm:spPr/>
      <dgm:t>
        <a:bodyPr/>
        <a:lstStyle/>
        <a:p>
          <a:endParaRPr lang="en-US" sz="1100"/>
        </a:p>
      </dgm:t>
    </dgm:pt>
    <dgm:pt modelId="{B31608B6-2CB4-483F-ADDA-49F38FB45A2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dirty="0" smtClean="0"/>
            <a:t>Data Governance </a:t>
          </a:r>
          <a:endParaRPr lang="en-US" sz="1100" dirty="0"/>
        </a:p>
      </dgm:t>
    </dgm:pt>
    <dgm:pt modelId="{00CD9573-FFB4-4692-B6DC-5BA8DDF2B715}" type="parTrans" cxnId="{52B1775E-9238-453D-B0A8-0ACE1AE62B20}">
      <dgm:prSet/>
      <dgm:spPr/>
      <dgm:t>
        <a:bodyPr/>
        <a:lstStyle/>
        <a:p>
          <a:endParaRPr lang="en-US" sz="1100"/>
        </a:p>
      </dgm:t>
    </dgm:pt>
    <dgm:pt modelId="{8C783002-3AB9-47D8-AC99-4DBAF72D37F6}" type="sibTrans" cxnId="{52B1775E-9238-453D-B0A8-0ACE1AE62B20}">
      <dgm:prSet/>
      <dgm:spPr/>
      <dgm:t>
        <a:bodyPr/>
        <a:lstStyle/>
        <a:p>
          <a:endParaRPr lang="en-US" sz="1100"/>
        </a:p>
      </dgm:t>
    </dgm:pt>
    <dgm:pt modelId="{DACEC62C-F077-0E4F-ABC0-8CD08FEB67B5}" type="pres">
      <dgm:prSet presAssocID="{AC2F56AA-6054-0841-801D-9365A715D8D6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A049832-AD53-B04C-A72E-031CFAD527FE}" type="pres">
      <dgm:prSet presAssocID="{AC2F56AA-6054-0841-801D-9365A715D8D6}" presName="hierFlow" presStyleCnt="0"/>
      <dgm:spPr/>
    </dgm:pt>
    <dgm:pt modelId="{AAC1E396-4FC5-994C-A7F6-EC15E8DC1425}" type="pres">
      <dgm:prSet presAssocID="{AC2F56AA-6054-0841-801D-9365A715D8D6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81C13B36-3FF9-5240-BA3C-FCF428097F32}" type="pres">
      <dgm:prSet presAssocID="{04C83765-FA4D-C945-B349-CAF87867B8CC}" presName="Name14" presStyleCnt="0"/>
      <dgm:spPr/>
    </dgm:pt>
    <dgm:pt modelId="{EDC73585-9BF2-7F44-BDA8-A52989DCAF4C}" type="pres">
      <dgm:prSet presAssocID="{04C83765-FA4D-C945-B349-CAF87867B8CC}" presName="level1Shape" presStyleLbl="node0" presStyleIdx="0" presStyleCnt="1" custScaleX="139101" custScaleY="12868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CF30BBC-EFAB-494D-9197-2A868C949754}" type="pres">
      <dgm:prSet presAssocID="{04C83765-FA4D-C945-B349-CAF87867B8CC}" presName="hierChild2" presStyleCnt="0"/>
      <dgm:spPr/>
    </dgm:pt>
    <dgm:pt modelId="{FD4D30EF-E6C0-FD44-86D9-EC3A1761056F}" type="pres">
      <dgm:prSet presAssocID="{F283BFA7-A709-C847-8431-26373C80B6E5}" presName="Name19" presStyleLbl="parChTrans1D2" presStyleIdx="0" presStyleCnt="5"/>
      <dgm:spPr/>
      <dgm:t>
        <a:bodyPr/>
        <a:lstStyle/>
        <a:p>
          <a:endParaRPr lang="en-US"/>
        </a:p>
      </dgm:t>
    </dgm:pt>
    <dgm:pt modelId="{069A9E36-FA13-5A42-9B2A-66A43FCEC66E}" type="pres">
      <dgm:prSet presAssocID="{9AF85308-69AE-5541-A462-B159E29CCCC5}" presName="Name21" presStyleCnt="0"/>
      <dgm:spPr/>
    </dgm:pt>
    <dgm:pt modelId="{66361BEC-7AD7-DC46-A079-B2D090EC650E}" type="pres">
      <dgm:prSet presAssocID="{9AF85308-69AE-5541-A462-B159E29CCCC5}" presName="level2Shape" presStyleLbl="node2" presStyleIdx="0" presStyleCnt="5"/>
      <dgm:spPr/>
      <dgm:t>
        <a:bodyPr/>
        <a:lstStyle/>
        <a:p>
          <a:endParaRPr lang="en-US"/>
        </a:p>
      </dgm:t>
    </dgm:pt>
    <dgm:pt modelId="{B70F68FB-99AE-1644-BE22-3F676659F35C}" type="pres">
      <dgm:prSet presAssocID="{9AF85308-69AE-5541-A462-B159E29CCCC5}" presName="hierChild3" presStyleCnt="0"/>
      <dgm:spPr/>
    </dgm:pt>
    <dgm:pt modelId="{44CBEA9B-F400-4976-BBA8-2CBE9E7BB89A}" type="pres">
      <dgm:prSet presAssocID="{00CD9573-FFB4-4692-B6DC-5BA8DDF2B715}" presName="Name19" presStyleLbl="parChTrans1D2" presStyleIdx="1" presStyleCnt="5"/>
      <dgm:spPr/>
      <dgm:t>
        <a:bodyPr/>
        <a:lstStyle/>
        <a:p>
          <a:endParaRPr lang="en-US"/>
        </a:p>
      </dgm:t>
    </dgm:pt>
    <dgm:pt modelId="{48E15639-AB38-4F32-9D76-AE0A793A036E}" type="pres">
      <dgm:prSet presAssocID="{B31608B6-2CB4-483F-ADDA-49F38FB45A25}" presName="Name21" presStyleCnt="0"/>
      <dgm:spPr/>
    </dgm:pt>
    <dgm:pt modelId="{2A823B45-ED06-429C-B958-DACACEC92F85}" type="pres">
      <dgm:prSet presAssocID="{B31608B6-2CB4-483F-ADDA-49F38FB45A25}" presName="level2Shape" presStyleLbl="node2" presStyleIdx="1" presStyleCnt="5"/>
      <dgm:spPr/>
      <dgm:t>
        <a:bodyPr/>
        <a:lstStyle/>
        <a:p>
          <a:endParaRPr lang="en-US"/>
        </a:p>
      </dgm:t>
    </dgm:pt>
    <dgm:pt modelId="{DD08C743-54D9-47BA-9240-133BB0D9E1B9}" type="pres">
      <dgm:prSet presAssocID="{B31608B6-2CB4-483F-ADDA-49F38FB45A25}" presName="hierChild3" presStyleCnt="0"/>
      <dgm:spPr/>
    </dgm:pt>
    <dgm:pt modelId="{79F50271-9422-CC43-AE40-6FABF03FD68F}" type="pres">
      <dgm:prSet presAssocID="{8B54D4BC-F3C7-C447-97E6-B95DA5C31133}" presName="Name19" presStyleLbl="parChTrans1D2" presStyleIdx="2" presStyleCnt="5"/>
      <dgm:spPr/>
      <dgm:t>
        <a:bodyPr/>
        <a:lstStyle/>
        <a:p>
          <a:endParaRPr lang="en-US"/>
        </a:p>
      </dgm:t>
    </dgm:pt>
    <dgm:pt modelId="{C3872B0A-CCBA-BE41-8C37-D6D4CEB03CF7}" type="pres">
      <dgm:prSet presAssocID="{FC34F398-8308-FA40-AAC3-C5203012C76F}" presName="Name21" presStyleCnt="0"/>
      <dgm:spPr/>
    </dgm:pt>
    <dgm:pt modelId="{946BF76D-9793-E842-8A87-CD65F203B989}" type="pres">
      <dgm:prSet presAssocID="{FC34F398-8308-FA40-AAC3-C5203012C76F}" presName="level2Shape" presStyleLbl="node2" presStyleIdx="2" presStyleCnt="5"/>
      <dgm:spPr/>
      <dgm:t>
        <a:bodyPr/>
        <a:lstStyle/>
        <a:p>
          <a:endParaRPr lang="en-US"/>
        </a:p>
      </dgm:t>
    </dgm:pt>
    <dgm:pt modelId="{D3AB65BA-C169-6344-BF88-19AAB1681032}" type="pres">
      <dgm:prSet presAssocID="{FC34F398-8308-FA40-AAC3-C5203012C76F}" presName="hierChild3" presStyleCnt="0"/>
      <dgm:spPr/>
    </dgm:pt>
    <dgm:pt modelId="{76501FDD-674F-433E-AF2D-F252D3D265CD}" type="pres">
      <dgm:prSet presAssocID="{67CF6515-370E-4C6D-AC55-9990BFBA9CE1}" presName="Name19" presStyleLbl="parChTrans1D2" presStyleIdx="3" presStyleCnt="5"/>
      <dgm:spPr/>
      <dgm:t>
        <a:bodyPr/>
        <a:lstStyle/>
        <a:p>
          <a:endParaRPr lang="en-US"/>
        </a:p>
      </dgm:t>
    </dgm:pt>
    <dgm:pt modelId="{ECB5F8B7-49A3-4ADA-BDB1-48F89C76888D}" type="pres">
      <dgm:prSet presAssocID="{525EC1AC-C9F5-402B-BAC0-47F416B9A3B6}" presName="Name21" presStyleCnt="0"/>
      <dgm:spPr/>
    </dgm:pt>
    <dgm:pt modelId="{94C4E759-EFCE-40AB-9A1B-22434A221A63}" type="pres">
      <dgm:prSet presAssocID="{525EC1AC-C9F5-402B-BAC0-47F416B9A3B6}" presName="level2Shape" presStyleLbl="node2" presStyleIdx="3" presStyleCnt="5"/>
      <dgm:spPr/>
      <dgm:t>
        <a:bodyPr/>
        <a:lstStyle/>
        <a:p>
          <a:endParaRPr lang="en-US"/>
        </a:p>
      </dgm:t>
    </dgm:pt>
    <dgm:pt modelId="{2C4CA110-7D97-454A-A9D5-46629C2A572C}" type="pres">
      <dgm:prSet presAssocID="{525EC1AC-C9F5-402B-BAC0-47F416B9A3B6}" presName="hierChild3" presStyleCnt="0"/>
      <dgm:spPr/>
    </dgm:pt>
    <dgm:pt modelId="{14819393-EDC2-ED4C-A615-BB85C2019DF9}" type="pres">
      <dgm:prSet presAssocID="{02018BAF-3BA9-7047-8BDA-4C178F4147AE}" presName="Name19" presStyleLbl="parChTrans1D2" presStyleIdx="4" presStyleCnt="5"/>
      <dgm:spPr/>
      <dgm:t>
        <a:bodyPr/>
        <a:lstStyle/>
        <a:p>
          <a:endParaRPr lang="en-US"/>
        </a:p>
      </dgm:t>
    </dgm:pt>
    <dgm:pt modelId="{FD0EB82F-72C7-1D47-9EAF-87BFF5487FD0}" type="pres">
      <dgm:prSet presAssocID="{0551AC74-5B47-AB43-A823-2A1885564832}" presName="Name21" presStyleCnt="0"/>
      <dgm:spPr/>
    </dgm:pt>
    <dgm:pt modelId="{5CDB7EC9-0228-B044-A8E0-D3AE5B2E6399}" type="pres">
      <dgm:prSet presAssocID="{0551AC74-5B47-AB43-A823-2A1885564832}" presName="level2Shape" presStyleLbl="node2" presStyleIdx="4" presStyleCnt="5"/>
      <dgm:spPr/>
      <dgm:t>
        <a:bodyPr/>
        <a:lstStyle/>
        <a:p>
          <a:endParaRPr lang="en-US"/>
        </a:p>
      </dgm:t>
    </dgm:pt>
    <dgm:pt modelId="{076B0DF1-EAE4-984A-AF4B-779397E84D79}" type="pres">
      <dgm:prSet presAssocID="{0551AC74-5B47-AB43-A823-2A1885564832}" presName="hierChild3" presStyleCnt="0"/>
      <dgm:spPr/>
    </dgm:pt>
    <dgm:pt modelId="{5A13C955-AAB1-9B41-91E4-9B49785718B1}" type="pres">
      <dgm:prSet presAssocID="{AC2F56AA-6054-0841-801D-9365A715D8D6}" presName="bgShapesFlow" presStyleCnt="0"/>
      <dgm:spPr/>
    </dgm:pt>
  </dgm:ptLst>
  <dgm:cxnLst>
    <dgm:cxn modelId="{D5429F28-E93B-4174-97A9-155DF12ED53B}" type="presOf" srcId="{0551AC74-5B47-AB43-A823-2A1885564832}" destId="{5CDB7EC9-0228-B044-A8E0-D3AE5B2E6399}" srcOrd="0" destOrd="0" presId="urn:microsoft.com/office/officeart/2005/8/layout/hierarchy6"/>
    <dgm:cxn modelId="{5F4FF7A6-45BA-41BC-8712-5D6720CC11A8}" type="presOf" srcId="{00CD9573-FFB4-4692-B6DC-5BA8DDF2B715}" destId="{44CBEA9B-F400-4976-BBA8-2CBE9E7BB89A}" srcOrd="0" destOrd="0" presId="urn:microsoft.com/office/officeart/2005/8/layout/hierarchy6"/>
    <dgm:cxn modelId="{D913F532-FD42-4F2C-BE48-81DF44533D1D}" type="presOf" srcId="{04C83765-FA4D-C945-B349-CAF87867B8CC}" destId="{EDC73585-9BF2-7F44-BDA8-A52989DCAF4C}" srcOrd="0" destOrd="0" presId="urn:microsoft.com/office/officeart/2005/8/layout/hierarchy6"/>
    <dgm:cxn modelId="{C7608B77-7D07-4C74-8322-D458A1CD6722}" type="presOf" srcId="{AC2F56AA-6054-0841-801D-9365A715D8D6}" destId="{DACEC62C-F077-0E4F-ABC0-8CD08FEB67B5}" srcOrd="0" destOrd="0" presId="urn:microsoft.com/office/officeart/2005/8/layout/hierarchy6"/>
    <dgm:cxn modelId="{ACDDF7B5-E3FD-46F1-8E57-342FE533DFCB}" type="presOf" srcId="{B31608B6-2CB4-483F-ADDA-49F38FB45A25}" destId="{2A823B45-ED06-429C-B958-DACACEC92F85}" srcOrd="0" destOrd="0" presId="urn:microsoft.com/office/officeart/2005/8/layout/hierarchy6"/>
    <dgm:cxn modelId="{CF0E7A5F-D07B-0948-8FBB-EEFBC5D989E7}" srcId="{04C83765-FA4D-C945-B349-CAF87867B8CC}" destId="{0551AC74-5B47-AB43-A823-2A1885564832}" srcOrd="4" destOrd="0" parTransId="{02018BAF-3BA9-7047-8BDA-4C178F4147AE}" sibTransId="{72BD13B1-E157-E440-BD2A-3369FC2EF68A}"/>
    <dgm:cxn modelId="{7564D7A3-4A2E-4F9E-B14E-088CA1D60B98}" type="presOf" srcId="{FC34F398-8308-FA40-AAC3-C5203012C76F}" destId="{946BF76D-9793-E842-8A87-CD65F203B989}" srcOrd="0" destOrd="0" presId="urn:microsoft.com/office/officeart/2005/8/layout/hierarchy6"/>
    <dgm:cxn modelId="{4217EC16-067A-EB41-9A33-277299BBB977}" srcId="{AC2F56AA-6054-0841-801D-9365A715D8D6}" destId="{04C83765-FA4D-C945-B349-CAF87867B8CC}" srcOrd="0" destOrd="0" parTransId="{143D692A-92AD-C348-89DD-12FD2354CE15}" sibTransId="{5A9F4F76-A515-6745-B189-04FC13CDDD58}"/>
    <dgm:cxn modelId="{9D281A86-1403-6F43-91AC-A4BFEF0A8B6B}" srcId="{04C83765-FA4D-C945-B349-CAF87867B8CC}" destId="{FC34F398-8308-FA40-AAC3-C5203012C76F}" srcOrd="2" destOrd="0" parTransId="{8B54D4BC-F3C7-C447-97E6-B95DA5C31133}" sibTransId="{3268F3BA-45EE-034B-AE99-34CC1792E746}"/>
    <dgm:cxn modelId="{74C9461B-9820-409B-8E4B-EB116C48AA52}" srcId="{04C83765-FA4D-C945-B349-CAF87867B8CC}" destId="{525EC1AC-C9F5-402B-BAC0-47F416B9A3B6}" srcOrd="3" destOrd="0" parTransId="{67CF6515-370E-4C6D-AC55-9990BFBA9CE1}" sibTransId="{C8FCC378-5FA9-41B5-8163-8A58F3FE137F}"/>
    <dgm:cxn modelId="{CAE7DB77-0456-446F-A92B-73E31D09D5C2}" type="presOf" srcId="{9AF85308-69AE-5541-A462-B159E29CCCC5}" destId="{66361BEC-7AD7-DC46-A079-B2D090EC650E}" srcOrd="0" destOrd="0" presId="urn:microsoft.com/office/officeart/2005/8/layout/hierarchy6"/>
    <dgm:cxn modelId="{EC9D50EE-DB9A-4B75-9F41-9A22687E3D0F}" type="presOf" srcId="{67CF6515-370E-4C6D-AC55-9990BFBA9CE1}" destId="{76501FDD-674F-433E-AF2D-F252D3D265CD}" srcOrd="0" destOrd="0" presId="urn:microsoft.com/office/officeart/2005/8/layout/hierarchy6"/>
    <dgm:cxn modelId="{D62D2455-1ADD-4118-AD55-7A66F36C1B0E}" type="presOf" srcId="{8B54D4BC-F3C7-C447-97E6-B95DA5C31133}" destId="{79F50271-9422-CC43-AE40-6FABF03FD68F}" srcOrd="0" destOrd="0" presId="urn:microsoft.com/office/officeart/2005/8/layout/hierarchy6"/>
    <dgm:cxn modelId="{5C69EBAD-AF04-4176-B5E4-BECC1263E5F7}" type="presOf" srcId="{F283BFA7-A709-C847-8431-26373C80B6E5}" destId="{FD4D30EF-E6C0-FD44-86D9-EC3A1761056F}" srcOrd="0" destOrd="0" presId="urn:microsoft.com/office/officeart/2005/8/layout/hierarchy6"/>
    <dgm:cxn modelId="{52B1775E-9238-453D-B0A8-0ACE1AE62B20}" srcId="{04C83765-FA4D-C945-B349-CAF87867B8CC}" destId="{B31608B6-2CB4-483F-ADDA-49F38FB45A25}" srcOrd="1" destOrd="0" parTransId="{00CD9573-FFB4-4692-B6DC-5BA8DDF2B715}" sibTransId="{8C783002-3AB9-47D8-AC99-4DBAF72D37F6}"/>
    <dgm:cxn modelId="{E43B916F-4918-425B-9C68-71B15353944F}" type="presOf" srcId="{525EC1AC-C9F5-402B-BAC0-47F416B9A3B6}" destId="{94C4E759-EFCE-40AB-9A1B-22434A221A63}" srcOrd="0" destOrd="0" presId="urn:microsoft.com/office/officeart/2005/8/layout/hierarchy6"/>
    <dgm:cxn modelId="{BE584A98-8F9C-4C49-98DE-9EA637480BE0}" type="presOf" srcId="{02018BAF-3BA9-7047-8BDA-4C178F4147AE}" destId="{14819393-EDC2-ED4C-A615-BB85C2019DF9}" srcOrd="0" destOrd="0" presId="urn:microsoft.com/office/officeart/2005/8/layout/hierarchy6"/>
    <dgm:cxn modelId="{737F4E88-1F05-1F4B-B292-C6D762B81E0F}" srcId="{04C83765-FA4D-C945-B349-CAF87867B8CC}" destId="{9AF85308-69AE-5541-A462-B159E29CCCC5}" srcOrd="0" destOrd="0" parTransId="{F283BFA7-A709-C847-8431-26373C80B6E5}" sibTransId="{E55CB977-7D7A-1C44-8C7E-DB5032C8AA7D}"/>
    <dgm:cxn modelId="{CC1BA030-2994-4365-B3AC-0516028F2F16}" type="presParOf" srcId="{DACEC62C-F077-0E4F-ABC0-8CD08FEB67B5}" destId="{CA049832-AD53-B04C-A72E-031CFAD527FE}" srcOrd="0" destOrd="0" presId="urn:microsoft.com/office/officeart/2005/8/layout/hierarchy6"/>
    <dgm:cxn modelId="{44BC4EB6-B766-473B-8E1E-341E2B9DD83A}" type="presParOf" srcId="{CA049832-AD53-B04C-A72E-031CFAD527FE}" destId="{AAC1E396-4FC5-994C-A7F6-EC15E8DC1425}" srcOrd="0" destOrd="0" presId="urn:microsoft.com/office/officeart/2005/8/layout/hierarchy6"/>
    <dgm:cxn modelId="{4E300FA1-45CE-41AE-90F8-57F6B294EC15}" type="presParOf" srcId="{AAC1E396-4FC5-994C-A7F6-EC15E8DC1425}" destId="{81C13B36-3FF9-5240-BA3C-FCF428097F32}" srcOrd="0" destOrd="0" presId="urn:microsoft.com/office/officeart/2005/8/layout/hierarchy6"/>
    <dgm:cxn modelId="{9D9EAF64-A758-4BA2-891A-AB17D1A07022}" type="presParOf" srcId="{81C13B36-3FF9-5240-BA3C-FCF428097F32}" destId="{EDC73585-9BF2-7F44-BDA8-A52989DCAF4C}" srcOrd="0" destOrd="0" presId="urn:microsoft.com/office/officeart/2005/8/layout/hierarchy6"/>
    <dgm:cxn modelId="{B558F856-D8E8-41E0-B726-691D55B0BC9A}" type="presParOf" srcId="{81C13B36-3FF9-5240-BA3C-FCF428097F32}" destId="{5CF30BBC-EFAB-494D-9197-2A868C949754}" srcOrd="1" destOrd="0" presId="urn:microsoft.com/office/officeart/2005/8/layout/hierarchy6"/>
    <dgm:cxn modelId="{16B095CA-BA62-4038-B9D3-E39DA51ABD56}" type="presParOf" srcId="{5CF30BBC-EFAB-494D-9197-2A868C949754}" destId="{FD4D30EF-E6C0-FD44-86D9-EC3A1761056F}" srcOrd="0" destOrd="0" presId="urn:microsoft.com/office/officeart/2005/8/layout/hierarchy6"/>
    <dgm:cxn modelId="{D265450B-4D24-4206-9D9D-D5C480C8DD5B}" type="presParOf" srcId="{5CF30BBC-EFAB-494D-9197-2A868C949754}" destId="{069A9E36-FA13-5A42-9B2A-66A43FCEC66E}" srcOrd="1" destOrd="0" presId="urn:microsoft.com/office/officeart/2005/8/layout/hierarchy6"/>
    <dgm:cxn modelId="{4CCC8315-1801-4F29-917A-1FA9A9C166B6}" type="presParOf" srcId="{069A9E36-FA13-5A42-9B2A-66A43FCEC66E}" destId="{66361BEC-7AD7-DC46-A079-B2D090EC650E}" srcOrd="0" destOrd="0" presId="urn:microsoft.com/office/officeart/2005/8/layout/hierarchy6"/>
    <dgm:cxn modelId="{4A45C937-9E3F-4EC0-AD4E-B2B355773A37}" type="presParOf" srcId="{069A9E36-FA13-5A42-9B2A-66A43FCEC66E}" destId="{B70F68FB-99AE-1644-BE22-3F676659F35C}" srcOrd="1" destOrd="0" presId="urn:microsoft.com/office/officeart/2005/8/layout/hierarchy6"/>
    <dgm:cxn modelId="{76A550DD-A284-4E1C-B6F4-7CD00DF8B203}" type="presParOf" srcId="{5CF30BBC-EFAB-494D-9197-2A868C949754}" destId="{44CBEA9B-F400-4976-BBA8-2CBE9E7BB89A}" srcOrd="2" destOrd="0" presId="urn:microsoft.com/office/officeart/2005/8/layout/hierarchy6"/>
    <dgm:cxn modelId="{30DA4BFF-AC85-4CF5-AA4E-3A81377C8D3B}" type="presParOf" srcId="{5CF30BBC-EFAB-494D-9197-2A868C949754}" destId="{48E15639-AB38-4F32-9D76-AE0A793A036E}" srcOrd="3" destOrd="0" presId="urn:microsoft.com/office/officeart/2005/8/layout/hierarchy6"/>
    <dgm:cxn modelId="{BACB9116-819E-4598-BE6E-09C4898AC946}" type="presParOf" srcId="{48E15639-AB38-4F32-9D76-AE0A793A036E}" destId="{2A823B45-ED06-429C-B958-DACACEC92F85}" srcOrd="0" destOrd="0" presId="urn:microsoft.com/office/officeart/2005/8/layout/hierarchy6"/>
    <dgm:cxn modelId="{58CA22AB-3728-42BD-96E9-64B3EB1A4E74}" type="presParOf" srcId="{48E15639-AB38-4F32-9D76-AE0A793A036E}" destId="{DD08C743-54D9-47BA-9240-133BB0D9E1B9}" srcOrd="1" destOrd="0" presId="urn:microsoft.com/office/officeart/2005/8/layout/hierarchy6"/>
    <dgm:cxn modelId="{A9537C5B-A766-4DEC-8E4A-81A710FB2182}" type="presParOf" srcId="{5CF30BBC-EFAB-494D-9197-2A868C949754}" destId="{79F50271-9422-CC43-AE40-6FABF03FD68F}" srcOrd="4" destOrd="0" presId="urn:microsoft.com/office/officeart/2005/8/layout/hierarchy6"/>
    <dgm:cxn modelId="{2CE7F4AB-5868-4ABD-9892-DDD494CE5849}" type="presParOf" srcId="{5CF30BBC-EFAB-494D-9197-2A868C949754}" destId="{C3872B0A-CCBA-BE41-8C37-D6D4CEB03CF7}" srcOrd="5" destOrd="0" presId="urn:microsoft.com/office/officeart/2005/8/layout/hierarchy6"/>
    <dgm:cxn modelId="{CD834A65-0ED0-4793-A288-1FF76563240C}" type="presParOf" srcId="{C3872B0A-CCBA-BE41-8C37-D6D4CEB03CF7}" destId="{946BF76D-9793-E842-8A87-CD65F203B989}" srcOrd="0" destOrd="0" presId="urn:microsoft.com/office/officeart/2005/8/layout/hierarchy6"/>
    <dgm:cxn modelId="{46A78C57-7EE8-44D1-8228-D6897BF8A687}" type="presParOf" srcId="{C3872B0A-CCBA-BE41-8C37-D6D4CEB03CF7}" destId="{D3AB65BA-C169-6344-BF88-19AAB1681032}" srcOrd="1" destOrd="0" presId="urn:microsoft.com/office/officeart/2005/8/layout/hierarchy6"/>
    <dgm:cxn modelId="{40283C5B-B5AC-4F6B-B990-2506FB8B727E}" type="presParOf" srcId="{5CF30BBC-EFAB-494D-9197-2A868C949754}" destId="{76501FDD-674F-433E-AF2D-F252D3D265CD}" srcOrd="6" destOrd="0" presId="urn:microsoft.com/office/officeart/2005/8/layout/hierarchy6"/>
    <dgm:cxn modelId="{A1B50B15-C7D7-4E0D-A549-9F7820066335}" type="presParOf" srcId="{5CF30BBC-EFAB-494D-9197-2A868C949754}" destId="{ECB5F8B7-49A3-4ADA-BDB1-48F89C76888D}" srcOrd="7" destOrd="0" presId="urn:microsoft.com/office/officeart/2005/8/layout/hierarchy6"/>
    <dgm:cxn modelId="{49F7BBB6-9784-4A36-BE1E-A8462BEF989E}" type="presParOf" srcId="{ECB5F8B7-49A3-4ADA-BDB1-48F89C76888D}" destId="{94C4E759-EFCE-40AB-9A1B-22434A221A63}" srcOrd="0" destOrd="0" presId="urn:microsoft.com/office/officeart/2005/8/layout/hierarchy6"/>
    <dgm:cxn modelId="{5662E17A-E98C-4C55-A123-9DEEB3D12857}" type="presParOf" srcId="{ECB5F8B7-49A3-4ADA-BDB1-48F89C76888D}" destId="{2C4CA110-7D97-454A-A9D5-46629C2A572C}" srcOrd="1" destOrd="0" presId="urn:microsoft.com/office/officeart/2005/8/layout/hierarchy6"/>
    <dgm:cxn modelId="{7B751312-F421-4CE3-B28E-70E1469BA4C5}" type="presParOf" srcId="{5CF30BBC-EFAB-494D-9197-2A868C949754}" destId="{14819393-EDC2-ED4C-A615-BB85C2019DF9}" srcOrd="8" destOrd="0" presId="urn:microsoft.com/office/officeart/2005/8/layout/hierarchy6"/>
    <dgm:cxn modelId="{557ECF8F-568B-4C27-B4D7-83BD8B1E20FC}" type="presParOf" srcId="{5CF30BBC-EFAB-494D-9197-2A868C949754}" destId="{FD0EB82F-72C7-1D47-9EAF-87BFF5487FD0}" srcOrd="9" destOrd="0" presId="urn:microsoft.com/office/officeart/2005/8/layout/hierarchy6"/>
    <dgm:cxn modelId="{6B9418FD-58E9-465E-A835-702C9B9AE04A}" type="presParOf" srcId="{FD0EB82F-72C7-1D47-9EAF-87BFF5487FD0}" destId="{5CDB7EC9-0228-B044-A8E0-D3AE5B2E6399}" srcOrd="0" destOrd="0" presId="urn:microsoft.com/office/officeart/2005/8/layout/hierarchy6"/>
    <dgm:cxn modelId="{D5F85863-3C43-4950-BAF6-F1F8B4030478}" type="presParOf" srcId="{FD0EB82F-72C7-1D47-9EAF-87BFF5487FD0}" destId="{076B0DF1-EAE4-984A-AF4B-779397E84D79}" srcOrd="1" destOrd="0" presId="urn:microsoft.com/office/officeart/2005/8/layout/hierarchy6"/>
    <dgm:cxn modelId="{7FCE5B5D-D60E-49C2-8B6E-BC57A543BE86}" type="presParOf" srcId="{DACEC62C-F077-0E4F-ABC0-8CD08FEB67B5}" destId="{5A13C955-AAB1-9B41-91E4-9B49785718B1}" srcOrd="1" destOrd="0" presId="urn:microsoft.com/office/officeart/2005/8/layout/hierarchy6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AB4D98-E4EE-425B-B4BF-9116ACD38C39}">
      <dsp:nvSpPr>
        <dsp:cNvPr id="0" name=""/>
        <dsp:cNvSpPr/>
      </dsp:nvSpPr>
      <dsp:spPr>
        <a:xfrm>
          <a:off x="4076699" y="2037831"/>
          <a:ext cx="3378057" cy="2931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568"/>
              </a:lnTo>
              <a:lnTo>
                <a:pt x="3378057" y="146568"/>
              </a:lnTo>
              <a:lnTo>
                <a:pt x="3378057" y="29313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4227DB-A3F2-4B2D-AD9F-0ADD3BC3BA54}">
      <dsp:nvSpPr>
        <dsp:cNvPr id="0" name=""/>
        <dsp:cNvSpPr/>
      </dsp:nvSpPr>
      <dsp:spPr>
        <a:xfrm>
          <a:off x="4076699" y="2037831"/>
          <a:ext cx="1689028" cy="2931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568"/>
              </a:lnTo>
              <a:lnTo>
                <a:pt x="1689028" y="146568"/>
              </a:lnTo>
              <a:lnTo>
                <a:pt x="1689028" y="29313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7C355D-C965-42FE-8A22-2E59FB848421}">
      <dsp:nvSpPr>
        <dsp:cNvPr id="0" name=""/>
        <dsp:cNvSpPr/>
      </dsp:nvSpPr>
      <dsp:spPr>
        <a:xfrm>
          <a:off x="4030979" y="2037831"/>
          <a:ext cx="91440" cy="29313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313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75B09E-1D74-4823-9C67-771CE403EDF9}">
      <dsp:nvSpPr>
        <dsp:cNvPr id="0" name=""/>
        <dsp:cNvSpPr/>
      </dsp:nvSpPr>
      <dsp:spPr>
        <a:xfrm>
          <a:off x="2387671" y="2037831"/>
          <a:ext cx="1689028" cy="293137"/>
        </a:xfrm>
        <a:custGeom>
          <a:avLst/>
          <a:gdLst/>
          <a:ahLst/>
          <a:cxnLst/>
          <a:rect l="0" t="0" r="0" b="0"/>
          <a:pathLst>
            <a:path>
              <a:moveTo>
                <a:pt x="1689028" y="0"/>
              </a:moveTo>
              <a:lnTo>
                <a:pt x="1689028" y="146568"/>
              </a:lnTo>
              <a:lnTo>
                <a:pt x="0" y="146568"/>
              </a:lnTo>
              <a:lnTo>
                <a:pt x="0" y="29313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66088D-B9A7-4F07-AC4F-FDC0FCE67A47}">
      <dsp:nvSpPr>
        <dsp:cNvPr id="0" name=""/>
        <dsp:cNvSpPr/>
      </dsp:nvSpPr>
      <dsp:spPr>
        <a:xfrm>
          <a:off x="698642" y="2037831"/>
          <a:ext cx="3378057" cy="293137"/>
        </a:xfrm>
        <a:custGeom>
          <a:avLst/>
          <a:gdLst/>
          <a:ahLst/>
          <a:cxnLst/>
          <a:rect l="0" t="0" r="0" b="0"/>
          <a:pathLst>
            <a:path>
              <a:moveTo>
                <a:pt x="3378057" y="0"/>
              </a:moveTo>
              <a:lnTo>
                <a:pt x="3378057" y="146568"/>
              </a:lnTo>
              <a:lnTo>
                <a:pt x="0" y="146568"/>
              </a:lnTo>
              <a:lnTo>
                <a:pt x="0" y="29313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A902A3-D332-46A4-A292-46A58AA416B9}">
      <dsp:nvSpPr>
        <dsp:cNvPr id="0" name=""/>
        <dsp:cNvSpPr/>
      </dsp:nvSpPr>
      <dsp:spPr>
        <a:xfrm>
          <a:off x="3378754" y="1339885"/>
          <a:ext cx="1395891" cy="697945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ransformation </a:t>
          </a:r>
          <a:endParaRPr lang="en-US" sz="1400" kern="1200" dirty="0"/>
        </a:p>
      </dsp:txBody>
      <dsp:txXfrm>
        <a:off x="3378754" y="1339885"/>
        <a:ext cx="1395891" cy="697945"/>
      </dsp:txXfrm>
    </dsp:sp>
    <dsp:sp modelId="{7449D73E-8E76-4719-AF8D-0F173B0C28B3}">
      <dsp:nvSpPr>
        <dsp:cNvPr id="0" name=""/>
        <dsp:cNvSpPr/>
      </dsp:nvSpPr>
      <dsp:spPr>
        <a:xfrm>
          <a:off x="696" y="2330968"/>
          <a:ext cx="1395891" cy="697945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rogram Management</a:t>
          </a:r>
          <a:endParaRPr lang="en-US" sz="1400" kern="1200" dirty="0"/>
        </a:p>
      </dsp:txBody>
      <dsp:txXfrm>
        <a:off x="696" y="2330968"/>
        <a:ext cx="1395891" cy="697945"/>
      </dsp:txXfrm>
    </dsp:sp>
    <dsp:sp modelId="{0475CE8E-7B43-48C3-BE00-118904AE8756}">
      <dsp:nvSpPr>
        <dsp:cNvPr id="0" name=""/>
        <dsp:cNvSpPr/>
      </dsp:nvSpPr>
      <dsp:spPr>
        <a:xfrm>
          <a:off x="1689725" y="2330968"/>
          <a:ext cx="1395891" cy="697945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ata Governance </a:t>
          </a:r>
          <a:endParaRPr lang="en-US" sz="1400" kern="1200" dirty="0"/>
        </a:p>
      </dsp:txBody>
      <dsp:txXfrm>
        <a:off x="1689725" y="2330968"/>
        <a:ext cx="1395891" cy="697945"/>
      </dsp:txXfrm>
    </dsp:sp>
    <dsp:sp modelId="{54D35B86-E192-4DCF-A786-141885FB9529}">
      <dsp:nvSpPr>
        <dsp:cNvPr id="0" name=""/>
        <dsp:cNvSpPr/>
      </dsp:nvSpPr>
      <dsp:spPr>
        <a:xfrm>
          <a:off x="3378754" y="2330968"/>
          <a:ext cx="1395891" cy="697945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nfrastructure and Support</a:t>
          </a:r>
          <a:endParaRPr lang="en-US" sz="1400" kern="1200" dirty="0"/>
        </a:p>
      </dsp:txBody>
      <dsp:txXfrm>
        <a:off x="3378754" y="2330968"/>
        <a:ext cx="1395891" cy="697945"/>
      </dsp:txXfrm>
    </dsp:sp>
    <dsp:sp modelId="{102288C9-9194-4996-8150-E24537B30DF2}">
      <dsp:nvSpPr>
        <dsp:cNvPr id="0" name=""/>
        <dsp:cNvSpPr/>
      </dsp:nvSpPr>
      <dsp:spPr>
        <a:xfrm>
          <a:off x="5067782" y="2330968"/>
          <a:ext cx="1395891" cy="697945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rchitecture</a:t>
          </a:r>
          <a:endParaRPr lang="en-US" sz="1400" kern="1200" dirty="0"/>
        </a:p>
      </dsp:txBody>
      <dsp:txXfrm>
        <a:off x="5067782" y="2330968"/>
        <a:ext cx="1395891" cy="697945"/>
      </dsp:txXfrm>
    </dsp:sp>
    <dsp:sp modelId="{62549D30-A0CE-451D-8451-34D70C19BBFB}">
      <dsp:nvSpPr>
        <dsp:cNvPr id="0" name=""/>
        <dsp:cNvSpPr/>
      </dsp:nvSpPr>
      <dsp:spPr>
        <a:xfrm>
          <a:off x="6756811" y="2330968"/>
          <a:ext cx="1395891" cy="697945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elivery</a:t>
          </a:r>
          <a:endParaRPr lang="en-US" sz="1400" kern="1200" dirty="0"/>
        </a:p>
      </dsp:txBody>
      <dsp:txXfrm>
        <a:off x="6756811" y="2330968"/>
        <a:ext cx="1395891" cy="6979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4789FF-E6B0-4EEF-A2C3-E25F2F0E8C89}">
      <dsp:nvSpPr>
        <dsp:cNvPr id="0" name=""/>
        <dsp:cNvSpPr/>
      </dsp:nvSpPr>
      <dsp:spPr>
        <a:xfrm>
          <a:off x="3998738" y="1220528"/>
          <a:ext cx="3137850" cy="466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071"/>
              </a:lnTo>
              <a:lnTo>
                <a:pt x="3137850" y="278071"/>
              </a:lnTo>
              <a:lnTo>
                <a:pt x="3137850" y="466441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18B6C3-6FAE-4F23-962F-CC3D4BBB38D2}">
      <dsp:nvSpPr>
        <dsp:cNvPr id="0" name=""/>
        <dsp:cNvSpPr/>
      </dsp:nvSpPr>
      <dsp:spPr>
        <a:xfrm>
          <a:off x="3998738" y="1220528"/>
          <a:ext cx="1045950" cy="466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071"/>
              </a:lnTo>
              <a:lnTo>
                <a:pt x="1045950" y="278071"/>
              </a:lnTo>
              <a:lnTo>
                <a:pt x="1045950" y="466441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82742A-A525-4EAC-8B76-4E79B21B4CF8}">
      <dsp:nvSpPr>
        <dsp:cNvPr id="0" name=""/>
        <dsp:cNvSpPr/>
      </dsp:nvSpPr>
      <dsp:spPr>
        <a:xfrm>
          <a:off x="2952787" y="1220528"/>
          <a:ext cx="1045950" cy="466441"/>
        </a:xfrm>
        <a:custGeom>
          <a:avLst/>
          <a:gdLst/>
          <a:ahLst/>
          <a:cxnLst/>
          <a:rect l="0" t="0" r="0" b="0"/>
          <a:pathLst>
            <a:path>
              <a:moveTo>
                <a:pt x="1045950" y="0"/>
              </a:moveTo>
              <a:lnTo>
                <a:pt x="1045950" y="278071"/>
              </a:lnTo>
              <a:lnTo>
                <a:pt x="0" y="278071"/>
              </a:lnTo>
              <a:lnTo>
                <a:pt x="0" y="466441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1CBC97-4F86-4C79-96E2-2A6CB44C2C41}">
      <dsp:nvSpPr>
        <dsp:cNvPr id="0" name=""/>
        <dsp:cNvSpPr/>
      </dsp:nvSpPr>
      <dsp:spPr>
        <a:xfrm>
          <a:off x="860887" y="1220528"/>
          <a:ext cx="3137850" cy="466441"/>
        </a:xfrm>
        <a:custGeom>
          <a:avLst/>
          <a:gdLst/>
          <a:ahLst/>
          <a:cxnLst/>
          <a:rect l="0" t="0" r="0" b="0"/>
          <a:pathLst>
            <a:path>
              <a:moveTo>
                <a:pt x="3137850" y="0"/>
              </a:moveTo>
              <a:lnTo>
                <a:pt x="3137850" y="278071"/>
              </a:lnTo>
              <a:lnTo>
                <a:pt x="0" y="278071"/>
              </a:lnTo>
              <a:lnTo>
                <a:pt x="0" y="466441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81614D-1FBE-4235-988E-8A16AC52BB3E}">
      <dsp:nvSpPr>
        <dsp:cNvPr id="0" name=""/>
        <dsp:cNvSpPr/>
      </dsp:nvSpPr>
      <dsp:spPr>
        <a:xfrm>
          <a:off x="3219120" y="413225"/>
          <a:ext cx="1559235" cy="807303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391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elivery</a:t>
          </a:r>
          <a:endParaRPr lang="en-US" sz="1400" kern="1200" dirty="0"/>
        </a:p>
      </dsp:txBody>
      <dsp:txXfrm>
        <a:off x="3219120" y="413225"/>
        <a:ext cx="1559235" cy="807303"/>
      </dsp:txXfrm>
    </dsp:sp>
    <dsp:sp modelId="{6DAD5A14-3091-46E0-AEEB-28CBD649D24B}">
      <dsp:nvSpPr>
        <dsp:cNvPr id="0" name=""/>
        <dsp:cNvSpPr/>
      </dsp:nvSpPr>
      <dsp:spPr>
        <a:xfrm>
          <a:off x="3530967" y="1041128"/>
          <a:ext cx="1403311" cy="2691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Frank Miller</a:t>
          </a:r>
        </a:p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VP BDA, API, SDN R/D</a:t>
          </a:r>
          <a:endParaRPr lang="en-US" sz="1000" kern="1200" dirty="0"/>
        </a:p>
      </dsp:txBody>
      <dsp:txXfrm>
        <a:off x="3530967" y="1041128"/>
        <a:ext cx="1403311" cy="269101"/>
      </dsp:txXfrm>
    </dsp:sp>
    <dsp:sp modelId="{41A73B06-2741-47C5-A229-BF8A87F7FDCD}">
      <dsp:nvSpPr>
        <dsp:cNvPr id="0" name=""/>
        <dsp:cNvSpPr/>
      </dsp:nvSpPr>
      <dsp:spPr>
        <a:xfrm>
          <a:off x="81269" y="1686970"/>
          <a:ext cx="1559235" cy="807303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391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DA Research</a:t>
          </a:r>
          <a:endParaRPr lang="en-US" sz="1400" kern="1200" dirty="0"/>
        </a:p>
      </dsp:txBody>
      <dsp:txXfrm>
        <a:off x="81269" y="1686970"/>
        <a:ext cx="1559235" cy="807303"/>
      </dsp:txXfrm>
    </dsp:sp>
    <dsp:sp modelId="{A5C21594-B334-4F24-BC2C-3AAFC07C3123}">
      <dsp:nvSpPr>
        <dsp:cNvPr id="0" name=""/>
        <dsp:cNvSpPr/>
      </dsp:nvSpPr>
      <dsp:spPr>
        <a:xfrm>
          <a:off x="393116" y="2314873"/>
          <a:ext cx="1403311" cy="2691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Dr. Ade Miller- Director</a:t>
          </a:r>
          <a:endParaRPr lang="en-US" sz="1000" kern="1200" dirty="0"/>
        </a:p>
      </dsp:txBody>
      <dsp:txXfrm>
        <a:off x="393116" y="2314873"/>
        <a:ext cx="1403311" cy="269101"/>
      </dsp:txXfrm>
    </dsp:sp>
    <dsp:sp modelId="{87DC62F7-2A93-4786-A570-2F6C4FE763C2}">
      <dsp:nvSpPr>
        <dsp:cNvPr id="0" name=""/>
        <dsp:cNvSpPr/>
      </dsp:nvSpPr>
      <dsp:spPr>
        <a:xfrm>
          <a:off x="2173170" y="1686970"/>
          <a:ext cx="1559235" cy="807303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391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DA Development</a:t>
          </a:r>
          <a:endParaRPr lang="en-US" sz="1400" kern="1200" dirty="0"/>
        </a:p>
      </dsp:txBody>
      <dsp:txXfrm>
        <a:off x="2173170" y="1686970"/>
        <a:ext cx="1559235" cy="807303"/>
      </dsp:txXfrm>
    </dsp:sp>
    <dsp:sp modelId="{D9E5A4FE-34F5-4371-A927-420820D8A315}">
      <dsp:nvSpPr>
        <dsp:cNvPr id="0" name=""/>
        <dsp:cNvSpPr/>
      </dsp:nvSpPr>
      <dsp:spPr>
        <a:xfrm>
          <a:off x="2485017" y="2314873"/>
          <a:ext cx="1403311" cy="2691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Tim Posey - Director</a:t>
          </a:r>
          <a:endParaRPr lang="en-US" sz="1100" kern="1200" dirty="0"/>
        </a:p>
      </dsp:txBody>
      <dsp:txXfrm>
        <a:off x="2485017" y="2314873"/>
        <a:ext cx="1403311" cy="269101"/>
      </dsp:txXfrm>
    </dsp:sp>
    <dsp:sp modelId="{463FEE3C-FB5E-4386-B8D7-140B4F56D7BA}">
      <dsp:nvSpPr>
        <dsp:cNvPr id="0" name=""/>
        <dsp:cNvSpPr/>
      </dsp:nvSpPr>
      <dsp:spPr>
        <a:xfrm>
          <a:off x="4265070" y="1686970"/>
          <a:ext cx="1559235" cy="807303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391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PI Development</a:t>
          </a:r>
          <a:endParaRPr lang="en-US" sz="1400" kern="1200" dirty="0"/>
        </a:p>
      </dsp:txBody>
      <dsp:txXfrm>
        <a:off x="4265070" y="1686970"/>
        <a:ext cx="1559235" cy="807303"/>
      </dsp:txXfrm>
    </dsp:sp>
    <dsp:sp modelId="{30BF005C-41CE-4E9A-8199-CE40D7DFBC78}">
      <dsp:nvSpPr>
        <dsp:cNvPr id="0" name=""/>
        <dsp:cNvSpPr/>
      </dsp:nvSpPr>
      <dsp:spPr>
        <a:xfrm>
          <a:off x="4576917" y="2314873"/>
          <a:ext cx="1403311" cy="2691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Gary Sidhu - Director</a:t>
          </a:r>
          <a:endParaRPr lang="en-US" sz="1100" kern="1200" dirty="0"/>
        </a:p>
      </dsp:txBody>
      <dsp:txXfrm>
        <a:off x="4576917" y="2314873"/>
        <a:ext cx="1403311" cy="269101"/>
      </dsp:txXfrm>
    </dsp:sp>
    <dsp:sp modelId="{70346AA6-0A63-43C6-B235-F3FB9B1C7D47}">
      <dsp:nvSpPr>
        <dsp:cNvPr id="0" name=""/>
        <dsp:cNvSpPr/>
      </dsp:nvSpPr>
      <dsp:spPr>
        <a:xfrm>
          <a:off x="6356971" y="1686970"/>
          <a:ext cx="1559235" cy="807303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391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DN Research</a:t>
          </a:r>
          <a:endParaRPr lang="en-US" sz="1400" kern="1200" dirty="0"/>
        </a:p>
      </dsp:txBody>
      <dsp:txXfrm>
        <a:off x="6356971" y="1686970"/>
        <a:ext cx="1559235" cy="807303"/>
      </dsp:txXfrm>
    </dsp:sp>
    <dsp:sp modelId="{080DB161-49A4-4438-A8DD-F21483E8CCF5}">
      <dsp:nvSpPr>
        <dsp:cNvPr id="0" name=""/>
        <dsp:cNvSpPr/>
      </dsp:nvSpPr>
      <dsp:spPr>
        <a:xfrm>
          <a:off x="6668818" y="2314873"/>
          <a:ext cx="1403311" cy="26910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Bill Walker - Director</a:t>
          </a:r>
          <a:endParaRPr lang="en-US" sz="1100" kern="1200" dirty="0"/>
        </a:p>
      </dsp:txBody>
      <dsp:txXfrm>
        <a:off x="6668818" y="2314873"/>
        <a:ext cx="1403311" cy="2691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C73585-9BF2-7F44-BDA8-A52989DCAF4C}">
      <dsp:nvSpPr>
        <dsp:cNvPr id="0" name=""/>
        <dsp:cNvSpPr/>
      </dsp:nvSpPr>
      <dsp:spPr>
        <a:xfrm>
          <a:off x="3369881" y="1330126"/>
          <a:ext cx="1947036" cy="1200855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Transformation </a:t>
          </a:r>
          <a:endParaRPr lang="en-US" sz="1100" kern="1200" dirty="0"/>
        </a:p>
      </dsp:txBody>
      <dsp:txXfrm>
        <a:off x="3405053" y="1365298"/>
        <a:ext cx="1876692" cy="1130511"/>
      </dsp:txXfrm>
    </dsp:sp>
    <dsp:sp modelId="{FD4D30EF-E6C0-FD44-86D9-EC3A1761056F}">
      <dsp:nvSpPr>
        <dsp:cNvPr id="0" name=""/>
        <dsp:cNvSpPr/>
      </dsp:nvSpPr>
      <dsp:spPr>
        <a:xfrm>
          <a:off x="704105" y="2530981"/>
          <a:ext cx="3639294" cy="373260"/>
        </a:xfrm>
        <a:custGeom>
          <a:avLst/>
          <a:gdLst/>
          <a:ahLst/>
          <a:cxnLst/>
          <a:rect l="0" t="0" r="0" b="0"/>
          <a:pathLst>
            <a:path>
              <a:moveTo>
                <a:pt x="3639294" y="0"/>
              </a:moveTo>
              <a:lnTo>
                <a:pt x="3639294" y="186630"/>
              </a:lnTo>
              <a:lnTo>
                <a:pt x="0" y="186630"/>
              </a:lnTo>
              <a:lnTo>
                <a:pt x="0" y="37326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361BEC-7AD7-DC46-A079-B2D090EC650E}">
      <dsp:nvSpPr>
        <dsp:cNvPr id="0" name=""/>
        <dsp:cNvSpPr/>
      </dsp:nvSpPr>
      <dsp:spPr>
        <a:xfrm>
          <a:off x="4241" y="2904242"/>
          <a:ext cx="1399728" cy="933152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ogram Management</a:t>
          </a:r>
          <a:endParaRPr lang="en-US" sz="1100" kern="1200" dirty="0"/>
        </a:p>
      </dsp:txBody>
      <dsp:txXfrm>
        <a:off x="31572" y="2931573"/>
        <a:ext cx="1345066" cy="878490"/>
      </dsp:txXfrm>
    </dsp:sp>
    <dsp:sp modelId="{44CBEA9B-F400-4976-BBA8-2CBE9E7BB89A}">
      <dsp:nvSpPr>
        <dsp:cNvPr id="0" name=""/>
        <dsp:cNvSpPr/>
      </dsp:nvSpPr>
      <dsp:spPr>
        <a:xfrm>
          <a:off x="2523752" y="2530981"/>
          <a:ext cx="1819647" cy="373260"/>
        </a:xfrm>
        <a:custGeom>
          <a:avLst/>
          <a:gdLst/>
          <a:ahLst/>
          <a:cxnLst/>
          <a:rect l="0" t="0" r="0" b="0"/>
          <a:pathLst>
            <a:path>
              <a:moveTo>
                <a:pt x="1819647" y="0"/>
              </a:moveTo>
              <a:lnTo>
                <a:pt x="1819647" y="186630"/>
              </a:lnTo>
              <a:lnTo>
                <a:pt x="0" y="186630"/>
              </a:lnTo>
              <a:lnTo>
                <a:pt x="0" y="37326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823B45-ED06-429C-B958-DACACEC92F85}">
      <dsp:nvSpPr>
        <dsp:cNvPr id="0" name=""/>
        <dsp:cNvSpPr/>
      </dsp:nvSpPr>
      <dsp:spPr>
        <a:xfrm>
          <a:off x="1823888" y="2904242"/>
          <a:ext cx="1399728" cy="933152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ata Governance </a:t>
          </a:r>
          <a:endParaRPr lang="en-US" sz="1100" kern="1200" dirty="0"/>
        </a:p>
      </dsp:txBody>
      <dsp:txXfrm>
        <a:off x="1851219" y="2931573"/>
        <a:ext cx="1345066" cy="878490"/>
      </dsp:txXfrm>
    </dsp:sp>
    <dsp:sp modelId="{79F50271-9422-CC43-AE40-6FABF03FD68F}">
      <dsp:nvSpPr>
        <dsp:cNvPr id="0" name=""/>
        <dsp:cNvSpPr/>
      </dsp:nvSpPr>
      <dsp:spPr>
        <a:xfrm>
          <a:off x="4297680" y="2530981"/>
          <a:ext cx="91440" cy="37326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326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6BF76D-9793-E842-8A87-CD65F203B989}">
      <dsp:nvSpPr>
        <dsp:cNvPr id="0" name=""/>
        <dsp:cNvSpPr/>
      </dsp:nvSpPr>
      <dsp:spPr>
        <a:xfrm>
          <a:off x="3643535" y="2904242"/>
          <a:ext cx="1399728" cy="933152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nfrastructure and Support</a:t>
          </a:r>
          <a:endParaRPr lang="en-US" sz="1100" kern="1200" dirty="0"/>
        </a:p>
      </dsp:txBody>
      <dsp:txXfrm>
        <a:off x="3670866" y="2931573"/>
        <a:ext cx="1345066" cy="878490"/>
      </dsp:txXfrm>
    </dsp:sp>
    <dsp:sp modelId="{76501FDD-674F-433E-AF2D-F252D3D265CD}">
      <dsp:nvSpPr>
        <dsp:cNvPr id="0" name=""/>
        <dsp:cNvSpPr/>
      </dsp:nvSpPr>
      <dsp:spPr>
        <a:xfrm>
          <a:off x="4343400" y="2530981"/>
          <a:ext cx="1819647" cy="3732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6630"/>
              </a:lnTo>
              <a:lnTo>
                <a:pt x="1819647" y="186630"/>
              </a:lnTo>
              <a:lnTo>
                <a:pt x="1819647" y="37326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C4E759-EFCE-40AB-9A1B-22434A221A63}">
      <dsp:nvSpPr>
        <dsp:cNvPr id="0" name=""/>
        <dsp:cNvSpPr/>
      </dsp:nvSpPr>
      <dsp:spPr>
        <a:xfrm>
          <a:off x="5463182" y="2904242"/>
          <a:ext cx="1399728" cy="933152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Architecture</a:t>
          </a:r>
          <a:endParaRPr lang="en-US" sz="1100" kern="1200" dirty="0"/>
        </a:p>
      </dsp:txBody>
      <dsp:txXfrm>
        <a:off x="5490513" y="2931573"/>
        <a:ext cx="1345066" cy="878490"/>
      </dsp:txXfrm>
    </dsp:sp>
    <dsp:sp modelId="{14819393-EDC2-ED4C-A615-BB85C2019DF9}">
      <dsp:nvSpPr>
        <dsp:cNvPr id="0" name=""/>
        <dsp:cNvSpPr/>
      </dsp:nvSpPr>
      <dsp:spPr>
        <a:xfrm>
          <a:off x="4343400" y="2530981"/>
          <a:ext cx="3639294" cy="3732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6630"/>
              </a:lnTo>
              <a:lnTo>
                <a:pt x="3639294" y="186630"/>
              </a:lnTo>
              <a:lnTo>
                <a:pt x="3639294" y="37326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DB7EC9-0228-B044-A8E0-D3AE5B2E6399}">
      <dsp:nvSpPr>
        <dsp:cNvPr id="0" name=""/>
        <dsp:cNvSpPr/>
      </dsp:nvSpPr>
      <dsp:spPr>
        <a:xfrm>
          <a:off x="7282829" y="2904242"/>
          <a:ext cx="1399728" cy="933152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livery</a:t>
          </a:r>
          <a:endParaRPr lang="en-US" sz="1100" kern="1200" dirty="0"/>
        </a:p>
      </dsp:txBody>
      <dsp:txXfrm>
        <a:off x="7310160" y="2931573"/>
        <a:ext cx="1345066" cy="8784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D11FE1-EF32-4434-BF1F-71652A384557}" type="datetimeFigureOut">
              <a:rPr lang="en-US" smtClean="0"/>
              <a:t>10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852B85-2BCE-4B2F-BEAF-A4A506C298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326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7815D9-38E5-4741-8111-EA52EAF09291}" type="datetimeFigureOut">
              <a:rPr lang="en-US" smtClean="0"/>
              <a:t>10/1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E868E-FFF7-4194-86F0-906560E4E5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929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F5430633-CDE1-4D22-A703-30B6BD2A0602}" type="slidenum">
              <a:rPr lang="en-US" altLang="en-US" sz="1200" b="0">
                <a:solidFill>
                  <a:prstClr val="black"/>
                </a:solidFill>
              </a:rPr>
              <a:pPr eaLnBrk="1" hangingPunct="1"/>
              <a:t>1</a:t>
            </a:fld>
            <a:endParaRPr lang="en-US" altLang="en-US" sz="1200" b="0">
              <a:solidFill>
                <a:prstClr val="black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CD513B69-C08A-4304-98B6-6F48FDDD56C6}" type="slidenum">
              <a:rPr lang="en-US" altLang="en-US" sz="1200" b="0">
                <a:solidFill>
                  <a:prstClr val="black"/>
                </a:solidFill>
              </a:rPr>
              <a:pPr eaLnBrk="1" hangingPunct="1"/>
              <a:t>2</a:t>
            </a:fld>
            <a:endParaRPr lang="en-US" altLang="en-US" sz="1200" b="0">
              <a:solidFill>
                <a:prstClr val="black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CD513B69-C08A-4304-98B6-6F48FDDD56C6}" type="slidenum">
              <a:rPr lang="en-US" altLang="en-US" sz="1200" b="0">
                <a:solidFill>
                  <a:prstClr val="black"/>
                </a:solidFill>
              </a:rPr>
              <a:pPr eaLnBrk="1" hangingPunct="1"/>
              <a:t>3</a:t>
            </a:fld>
            <a:endParaRPr lang="en-US" altLang="en-US" sz="1200" b="0">
              <a:solidFill>
                <a:prstClr val="black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EAF0AC-491B-1449-9D83-B150A7EF5550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CD0B25-0D7B-3241-8671-02D40E9770D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5678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CD0B25-0D7B-3241-8671-02D40E9770D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567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CD513B69-C08A-4304-98B6-6F48FDDD56C6}" type="slidenum">
              <a:rPr lang="en-US" altLang="en-US" sz="1200" b="0">
                <a:solidFill>
                  <a:prstClr val="black"/>
                </a:solidFill>
              </a:rPr>
              <a:pPr eaLnBrk="1" hangingPunct="1"/>
              <a:t>8</a:t>
            </a:fld>
            <a:endParaRPr lang="en-US" altLang="en-US" sz="1200" b="0">
              <a:solidFill>
                <a:prstClr val="black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CD513B69-C08A-4304-98B6-6F48FDDD56C6}" type="slidenum">
              <a:rPr lang="en-US" altLang="en-US" sz="1200" b="0">
                <a:solidFill>
                  <a:prstClr val="black"/>
                </a:solidFill>
              </a:rPr>
              <a:pPr eaLnBrk="1" hangingPunct="1"/>
              <a:t>9</a:t>
            </a:fld>
            <a:endParaRPr lang="en-US" altLang="en-US" sz="1200" b="0">
              <a:solidFill>
                <a:prstClr val="black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CD513B69-C08A-4304-98B6-6F48FDDD56C6}" type="slidenum">
              <a:rPr lang="en-US" altLang="en-US" sz="1200" b="0">
                <a:solidFill>
                  <a:prstClr val="black"/>
                </a:solidFill>
              </a:rPr>
              <a:pPr eaLnBrk="1" hangingPunct="1"/>
              <a:t>10</a:t>
            </a:fld>
            <a:endParaRPr lang="en-US" altLang="en-US" sz="1200" b="0">
              <a:solidFill>
                <a:prstClr val="black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 descr="title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H_3CP_rgb_bus_0412_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775" y="225425"/>
            <a:ext cx="2968625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8150" y="2057400"/>
            <a:ext cx="8172450" cy="1143000"/>
          </a:xfrm>
        </p:spPr>
        <p:txBody>
          <a:bodyPr/>
          <a:lstStyle>
            <a:lvl1pPr>
              <a:defRPr sz="24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7675" y="644525"/>
            <a:ext cx="1685925" cy="609600"/>
          </a:xfrm>
        </p:spPr>
        <p:txBody>
          <a:bodyPr/>
          <a:lstStyle>
            <a:lvl1pPr>
              <a:defRPr sz="12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1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F2B056-001C-4F31-B120-3C0934934AC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3145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153988"/>
            <a:ext cx="2095500" cy="52562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3988"/>
            <a:ext cx="6134100" cy="52562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468DC-25B2-40C7-BEE8-0F1C9352561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7690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 descr="title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H_3CP_rgb_bus_0412_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775" y="225425"/>
            <a:ext cx="2968625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8150" y="2057400"/>
            <a:ext cx="8172450" cy="1143000"/>
          </a:xfrm>
        </p:spPr>
        <p:txBody>
          <a:bodyPr/>
          <a:lstStyle>
            <a:lvl1pPr>
              <a:defRPr sz="24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7675" y="644525"/>
            <a:ext cx="1685925" cy="609600"/>
          </a:xfrm>
        </p:spPr>
        <p:txBody>
          <a:bodyPr/>
          <a:lstStyle>
            <a:lvl1pPr>
              <a:defRPr sz="12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3701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2E7B-704A-4FB7-AE33-0736610CF51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096000"/>
            <a:ext cx="9144000" cy="283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33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ACABA-5A65-4FA6-B4F8-9AAEC024CBC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640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01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109708-E328-4FD1-BCAA-47312219A22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6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B803C-0D9C-454E-A599-7C4B0C8C21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64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577AF-561B-487C-85E3-31B58E9DDFF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279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7907C-66F9-4817-B747-B1A7F703A4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717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898A9-95DD-47CC-A7C7-36C63DE741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629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2E7B-704A-4FB7-AE33-0736610CF51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952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D279F6-3618-4036-A55F-072DED2995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151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F2B056-001C-4F31-B120-3C0934934AC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894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153988"/>
            <a:ext cx="2095500" cy="52562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3988"/>
            <a:ext cx="6134100" cy="52562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468DC-25B2-40C7-BEE8-0F1C9352561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15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 descr="title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H_3CP_rgb_bus_0412_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775" y="225425"/>
            <a:ext cx="2968625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8150" y="2057400"/>
            <a:ext cx="8172450" cy="1143000"/>
          </a:xfrm>
        </p:spPr>
        <p:txBody>
          <a:bodyPr/>
          <a:lstStyle>
            <a:lvl1pPr>
              <a:defRPr sz="24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7675" y="644525"/>
            <a:ext cx="1685925" cy="609600"/>
          </a:xfrm>
        </p:spPr>
        <p:txBody>
          <a:bodyPr/>
          <a:lstStyle>
            <a:lvl1pPr>
              <a:defRPr sz="12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3701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2E7B-704A-4FB7-AE33-0736610CF51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096000"/>
            <a:ext cx="9144000" cy="283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33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ACABA-5A65-4FA6-B4F8-9AAEC024CBC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640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01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109708-E328-4FD1-BCAA-47312219A22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6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B803C-0D9C-454E-A599-7C4B0C8C21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6496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577AF-561B-487C-85E3-31B58E9DDFF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2793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7907C-66F9-4817-B747-B1A7F703A4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717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ACABA-5A65-4FA6-B4F8-9AAEC024CBC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357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898A9-95DD-47CC-A7C7-36C63DE741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6295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D279F6-3618-4036-A55F-072DED2995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1512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F2B056-001C-4F31-B120-3C0934934AC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8940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153988"/>
            <a:ext cx="2095500" cy="52562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3988"/>
            <a:ext cx="6134100" cy="52562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468DC-25B2-40C7-BEE8-0F1C9352561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154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 descr="title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H_3CP_rgb_bus_0412_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775" y="225425"/>
            <a:ext cx="2968625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8150" y="2057400"/>
            <a:ext cx="8172450" cy="1143000"/>
          </a:xfrm>
        </p:spPr>
        <p:txBody>
          <a:bodyPr/>
          <a:lstStyle>
            <a:lvl1pPr>
              <a:defRPr sz="24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7675" y="644525"/>
            <a:ext cx="1685925" cy="609600"/>
          </a:xfrm>
        </p:spPr>
        <p:txBody>
          <a:bodyPr/>
          <a:lstStyle>
            <a:lvl1pPr>
              <a:defRPr sz="1200">
                <a:solidFill>
                  <a:srgbClr val="00853F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3701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2E7B-704A-4FB7-AE33-0736610CF51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33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ACABA-5A65-4FA6-B4F8-9AAEC024CBC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640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01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109708-E328-4FD1-BCAA-47312219A22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6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B803C-0D9C-454E-A599-7C4B0C8C21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64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577AF-561B-487C-85E3-31B58E9DDFF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279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0100" y="1041400"/>
            <a:ext cx="4000500" cy="436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109708-E328-4FD1-BCAA-47312219A22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66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7907C-66F9-4817-B747-B1A7F703A4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7170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898A9-95DD-47CC-A7C7-36C63DE741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6295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D279F6-3618-4036-A55F-072DED2995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151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F2B056-001C-4F31-B120-3C0934934AC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894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153988"/>
            <a:ext cx="2095500" cy="52562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3988"/>
            <a:ext cx="6134100" cy="52562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468DC-25B2-40C7-BEE8-0F1C9352561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15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96664" y="6356351"/>
            <a:ext cx="2133600" cy="365125"/>
          </a:xfrm>
        </p:spPr>
        <p:txBody>
          <a:bodyPr lIns="0"/>
          <a:lstStyle>
            <a:lvl1pPr algn="l">
              <a:defRPr sz="1000"/>
            </a:lvl1pPr>
          </a:lstStyle>
          <a:p>
            <a:fld id="{356BE617-999C-3A42-BA58-58A90C35B8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96"/>
            <a:ext cx="9144000" cy="623433"/>
          </a:xfrm>
          <a:solidFill>
            <a:schemeClr val="accent1"/>
          </a:solidFill>
        </p:spPr>
        <p:txBody>
          <a:bodyPr>
            <a:normAutofit/>
          </a:bodyPr>
          <a:lstStyle>
            <a:lvl1pPr marL="251143" indent="0" algn="l"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296664" y="6356351"/>
            <a:ext cx="2133600" cy="365125"/>
          </a:xfrm>
          <a:prstGeom prst="rect">
            <a:avLst/>
          </a:prstGeom>
        </p:spPr>
        <p:txBody>
          <a:bodyPr vert="horz" lIns="0" tIns="45718" rIns="91435" bIns="45718" rtlCol="0" anchor="ctr"/>
          <a:lstStyle>
            <a:defPPr>
              <a:defRPr lang="en-US"/>
            </a:defPPr>
            <a:lvl1pPr marL="0" algn="l" defTabSz="65311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53110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65311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096000"/>
            <a:ext cx="9144000" cy="283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4168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755" userDrawn="1">
          <p15:clr>
            <a:srgbClr val="FBAE40"/>
          </p15:clr>
        </p15:guide>
        <p15:guide id="2" pos="299" userDrawn="1">
          <p15:clr>
            <a:srgbClr val="FBAE40"/>
          </p15:clr>
        </p15:guide>
        <p15:guide id="3" pos="8917" userDrawn="1">
          <p15:clr>
            <a:srgbClr val="FBAE40"/>
          </p15:clr>
        </p15:guide>
        <p15:guide id="4" orient="horz" pos="4633" userDrawn="1">
          <p15:clr>
            <a:srgbClr val="FBAE40"/>
          </p15:clr>
        </p15:guide>
        <p15:guide id="5" pos="4404" userDrawn="1">
          <p15:clr>
            <a:srgbClr val="FBAE40"/>
          </p15:clr>
        </p15:guide>
        <p15:guide id="6" pos="481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B803C-0D9C-454E-A599-7C4B0C8C21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0118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577AF-561B-487C-85E3-31B58E9DDFF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880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7907C-66F9-4817-B747-B1A7F703A4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434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898A9-95DD-47CC-A7C7-36C63DE741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967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D279F6-3618-4036-A55F-072DED2995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535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header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3988"/>
            <a:ext cx="8382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41400"/>
            <a:ext cx="8153400" cy="43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62713"/>
            <a:ext cx="2895600" cy="231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ea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7200" y="6462713"/>
            <a:ext cx="457200" cy="24288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DAFB96-4A94-401D-98BD-2A72C3B240B4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1" name="Picture 8" descr="H_3CP_rgb_bus_0412_pp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032500"/>
            <a:ext cx="19304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0304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</a:defRPr>
      </a:lvl2pPr>
      <a:lvl3pPr marL="8001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>
          <a:solidFill>
            <a:schemeClr val="tx1"/>
          </a:solidFill>
          <a:latin typeface="+mn-lt"/>
          <a:ea typeface="+mn-ea"/>
        </a:defRPr>
      </a:lvl3pPr>
      <a:lvl4pPr marL="12573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1600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5pPr>
      <a:lvl6pPr marL="20574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6pPr>
      <a:lvl7pPr marL="25146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7pPr>
      <a:lvl8pPr marL="29718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8pPr>
      <a:lvl9pPr marL="34290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header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3988"/>
            <a:ext cx="8382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41400"/>
            <a:ext cx="8153400" cy="43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62713"/>
            <a:ext cx="2895600" cy="231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ea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7200" y="6462713"/>
            <a:ext cx="457200" cy="24288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DAFB96-4A94-401D-98BD-2A72C3B240B4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1" name="Picture 8" descr="H_3CP_rgb_bus_0412_pp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032500"/>
            <a:ext cx="19304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9982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</a:defRPr>
      </a:lvl2pPr>
      <a:lvl3pPr marL="8001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>
          <a:solidFill>
            <a:schemeClr val="tx1"/>
          </a:solidFill>
          <a:latin typeface="+mn-lt"/>
          <a:ea typeface="+mn-ea"/>
        </a:defRPr>
      </a:lvl3pPr>
      <a:lvl4pPr marL="12573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1600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5pPr>
      <a:lvl6pPr marL="20574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6pPr>
      <a:lvl7pPr marL="25146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7pPr>
      <a:lvl8pPr marL="29718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8pPr>
      <a:lvl9pPr marL="34290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header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3988"/>
            <a:ext cx="8382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41400"/>
            <a:ext cx="8153400" cy="43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62713"/>
            <a:ext cx="2895600" cy="231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ea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7200" y="6462713"/>
            <a:ext cx="457200" cy="24288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DAFB96-4A94-401D-98BD-2A72C3B240B4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1" name="Picture 8" descr="H_3CP_rgb_bus_0412_pp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032500"/>
            <a:ext cx="19304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9982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</a:defRPr>
      </a:lvl2pPr>
      <a:lvl3pPr marL="8001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>
          <a:solidFill>
            <a:schemeClr val="tx1"/>
          </a:solidFill>
          <a:latin typeface="+mn-lt"/>
          <a:ea typeface="+mn-ea"/>
        </a:defRPr>
      </a:lvl3pPr>
      <a:lvl4pPr marL="12573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1600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5pPr>
      <a:lvl6pPr marL="20574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6pPr>
      <a:lvl7pPr marL="25146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7pPr>
      <a:lvl8pPr marL="29718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8pPr>
      <a:lvl9pPr marL="34290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header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3988"/>
            <a:ext cx="8382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41400"/>
            <a:ext cx="8153400" cy="436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62713"/>
            <a:ext cx="2895600" cy="231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ea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7200" y="6462713"/>
            <a:ext cx="457200" cy="24288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DAFB96-4A94-401D-98BD-2A72C3B240B4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1" name="Picture 8" descr="H_3CP_rgb_bus_0412_ppt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032500"/>
            <a:ext cx="19304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0" y="6096000"/>
            <a:ext cx="9144000" cy="283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982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</a:defRPr>
      </a:lvl2pPr>
      <a:lvl3pPr marL="8001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>
          <a:solidFill>
            <a:schemeClr val="tx1"/>
          </a:solidFill>
          <a:latin typeface="+mn-lt"/>
          <a:ea typeface="+mn-ea"/>
        </a:defRPr>
      </a:lvl3pPr>
      <a:lvl4pPr marL="12573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1600200" indent="-1651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5pPr>
      <a:lvl6pPr marL="20574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6pPr>
      <a:lvl7pPr marL="25146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7pPr>
      <a:lvl8pPr marL="29718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8pPr>
      <a:lvl9pPr marL="3429000" indent="-165100" algn="l" rtl="0" fontAlgn="base">
        <a:spcBef>
          <a:spcPct val="20000"/>
        </a:spcBef>
        <a:spcAft>
          <a:spcPct val="0"/>
        </a:spcAft>
        <a:buFont typeface="Arial" charset="0"/>
        <a:buChar char="▪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6.png"/><Relationship Id="rId3" Type="http://schemas.openxmlformats.org/officeDocument/2006/relationships/tags" Target="../tags/tag3.xml"/><Relationship Id="rId21" Type="http://schemas.openxmlformats.org/officeDocument/2006/relationships/image" Target="../media/image9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5.emf"/><Relationship Id="rId2" Type="http://schemas.openxmlformats.org/officeDocument/2006/relationships/tags" Target="../tags/tag2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8.emf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2.png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45.xml"/><Relationship Id="rId23" Type="http://schemas.openxmlformats.org/officeDocument/2006/relationships/image" Target="../media/image11.wmf"/><Relationship Id="rId10" Type="http://schemas.openxmlformats.org/officeDocument/2006/relationships/tags" Target="../tags/tag10.xml"/><Relationship Id="rId19" Type="http://schemas.openxmlformats.org/officeDocument/2006/relationships/image" Target="../media/image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/>
            <a:r>
              <a:rPr lang="en-US" altLang="en-US" dirty="0" smtClean="0">
                <a:solidFill>
                  <a:schemeClr val="tx2"/>
                </a:solidFill>
              </a:rPr>
              <a:t>ROLES AND </a:t>
            </a:r>
            <a:r>
              <a:rPr lang="en-US" altLang="en-US" dirty="0" smtClean="0">
                <a:solidFill>
                  <a:schemeClr val="tx2"/>
                </a:solidFill>
              </a:rPr>
              <a:t>RESPONSIBILITIES</a:t>
            </a:r>
            <a:r>
              <a:rPr lang="en-US" altLang="en-US" dirty="0" smtClean="0">
                <a:solidFill>
                  <a:schemeClr val="tx2"/>
                </a:solidFill>
              </a:rPr>
              <a:t/>
            </a:r>
            <a:br>
              <a:rPr lang="en-US" altLang="en-US" dirty="0" smtClean="0">
                <a:solidFill>
                  <a:schemeClr val="tx2"/>
                </a:solidFill>
              </a:rPr>
            </a:br>
            <a:r>
              <a:rPr lang="en-US" altLang="en-US" dirty="0" smtClean="0"/>
              <a:t> </a:t>
            </a:r>
            <a:br>
              <a:rPr lang="en-US" altLang="en-US" dirty="0" smtClean="0"/>
            </a:br>
            <a:r>
              <a:rPr lang="en-US" altLang="en-US" dirty="0" smtClean="0"/>
              <a:t>BIG DATA</a:t>
            </a:r>
            <a:endParaRPr lang="en-US" altLang="en-US" dirty="0" smtClean="0"/>
          </a:p>
        </p:txBody>
      </p:sp>
      <p:sp>
        <p:nvSpPr>
          <p:cNvPr id="3075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447675" y="644525"/>
            <a:ext cx="2143125" cy="346075"/>
          </a:xfrm>
        </p:spPr>
        <p:txBody>
          <a:bodyPr/>
          <a:lstStyle/>
          <a:p>
            <a:pPr marL="0" indent="0" eaLnBrk="1" hangingPunct="1"/>
            <a:r>
              <a:rPr lang="en-US" altLang="en-US" dirty="0" smtClean="0"/>
              <a:t>OCTOBER 14,  </a:t>
            </a:r>
            <a:r>
              <a:rPr lang="en-US" altLang="en-US" dirty="0" smtClean="0"/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335452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457200" y="6477000"/>
            <a:ext cx="6400800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10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oles and </a:t>
            </a:r>
            <a:r>
              <a:rPr lang="en-US" dirty="0"/>
              <a:t>Responsibilities </a:t>
            </a:r>
            <a:r>
              <a:rPr lang="en-US" dirty="0" smtClean="0"/>
              <a:t>- </a:t>
            </a:r>
            <a:r>
              <a:rPr lang="en-US" dirty="0"/>
              <a:t>SCRUM</a:t>
            </a:r>
            <a:endParaRPr lang="en-US" altLang="en-US" dirty="0" smtClean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 smtClean="0"/>
              <a:t>CHIEF RTE</a:t>
            </a:r>
          </a:p>
          <a:p>
            <a:pPr lvl="1"/>
            <a:r>
              <a:rPr lang="en-US" sz="1200" dirty="0" smtClean="0"/>
              <a:t>Insure MMP and Feature backlog grooming is in “ready state” prior to PI planning</a:t>
            </a:r>
          </a:p>
          <a:p>
            <a:pPr lvl="1"/>
            <a:r>
              <a:rPr lang="en-US" sz="1200" dirty="0" smtClean="0"/>
              <a:t>Manages daily cross-Train dependencies between MMPs and/or Features</a:t>
            </a:r>
          </a:p>
          <a:p>
            <a:pPr lvl="1"/>
            <a:r>
              <a:rPr lang="en-US" sz="1200" dirty="0" smtClean="0"/>
              <a:t>Mitigates cross-Train level risks, escalations and removes blockages to on time delivery </a:t>
            </a:r>
          </a:p>
          <a:p>
            <a:pPr lvl="1"/>
            <a:r>
              <a:rPr lang="en-US" sz="1200" dirty="0" smtClean="0"/>
              <a:t>Prime accountability for all Release Trains</a:t>
            </a:r>
          </a:p>
          <a:p>
            <a:pPr lvl="1"/>
            <a:r>
              <a:rPr lang="en-US" sz="1200" dirty="0" smtClean="0"/>
              <a:t>Responsible for inter-group communication and dependency resolution across Trains</a:t>
            </a:r>
          </a:p>
          <a:p>
            <a:pPr lvl="1"/>
            <a:r>
              <a:rPr lang="en-US" sz="1200" dirty="0" smtClean="0"/>
              <a:t>Organizes, facilitates and leads Release Planning meetings </a:t>
            </a:r>
          </a:p>
          <a:p>
            <a:endParaRPr lang="en-US" sz="1400" dirty="0" smtClean="0"/>
          </a:p>
          <a:p>
            <a:r>
              <a:rPr lang="en-US" sz="1400" dirty="0" smtClean="0"/>
              <a:t>RTE PRIME</a:t>
            </a:r>
          </a:p>
          <a:p>
            <a:pPr lvl="1"/>
            <a:r>
              <a:rPr lang="en-US" sz="1200" dirty="0" smtClean="0"/>
              <a:t>Secondary point of contact for all the chief RTE responsibilities</a:t>
            </a:r>
          </a:p>
          <a:p>
            <a:pPr lvl="1"/>
            <a:r>
              <a:rPr lang="en-US" sz="1200" dirty="0" smtClean="0"/>
              <a:t>Prime accountability for all </a:t>
            </a:r>
            <a:r>
              <a:rPr lang="en-US" sz="1200" dirty="0" smtClean="0"/>
              <a:t>non-BIG DATA stories </a:t>
            </a:r>
            <a:r>
              <a:rPr lang="en-US" sz="1200" dirty="0" smtClean="0"/>
              <a:t>need for the </a:t>
            </a:r>
            <a:r>
              <a:rPr lang="en-US" sz="1200" dirty="0" smtClean="0"/>
              <a:t>BIG DATA </a:t>
            </a:r>
            <a:r>
              <a:rPr lang="en-US" sz="1200" dirty="0" smtClean="0"/>
              <a:t>program</a:t>
            </a:r>
          </a:p>
          <a:p>
            <a:endParaRPr lang="en-US" sz="1400" dirty="0" smtClean="0"/>
          </a:p>
          <a:p>
            <a:r>
              <a:rPr lang="en-US" sz="1400" dirty="0" smtClean="0"/>
              <a:t>TRAIN RTE</a:t>
            </a:r>
          </a:p>
          <a:p>
            <a:pPr lvl="1"/>
            <a:r>
              <a:rPr lang="en-US" sz="1200" dirty="0" smtClean="0"/>
              <a:t>Insure team story backlog grooming is in “ready state” prior to PI planning</a:t>
            </a:r>
          </a:p>
          <a:p>
            <a:pPr lvl="1"/>
            <a:r>
              <a:rPr lang="en-US" sz="1200" dirty="0" smtClean="0"/>
              <a:t>Responsible for substantive and regular communications on solution status </a:t>
            </a:r>
          </a:p>
          <a:p>
            <a:pPr lvl="1"/>
            <a:r>
              <a:rPr lang="en-US" sz="1200" dirty="0" smtClean="0"/>
              <a:t>Runs the </a:t>
            </a:r>
            <a:r>
              <a:rPr lang="en-US" sz="1200" dirty="0" err="1" smtClean="0"/>
              <a:t>SoS</a:t>
            </a:r>
            <a:r>
              <a:rPr lang="en-US" sz="1200" dirty="0" smtClean="0"/>
              <a:t> (Scrum of Scrums) for Train</a:t>
            </a:r>
          </a:p>
          <a:p>
            <a:pPr lvl="1"/>
            <a:r>
              <a:rPr lang="en-US" sz="1200" dirty="0" smtClean="0"/>
              <a:t>Responsible for inter-group communication, issue and dependency resolution within Train</a:t>
            </a:r>
          </a:p>
          <a:p>
            <a:pPr marL="0" indent="0" eaLnBrk="1" hangingPunct="1"/>
            <a:endParaRPr lang="en-US" altLang="en-US" dirty="0" smtClean="0"/>
          </a:p>
          <a:p>
            <a:pPr marL="0" indent="0" eaLnBrk="1" hangingPunct="1"/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570959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0"/>
          <p:cNvSpPr txBox="1">
            <a:spLocks/>
          </p:cNvSpPr>
          <p:nvPr/>
        </p:nvSpPr>
        <p:spPr>
          <a:xfrm>
            <a:off x="11205" y="-4976"/>
            <a:ext cx="9144000" cy="623433"/>
          </a:xfrm>
          <a:prstGeom prst="rect">
            <a:avLst/>
          </a:prstGeom>
          <a:noFill/>
        </p:spPr>
        <p:txBody>
          <a:bodyPr vert="horz" lIns="91435" tIns="45718" rIns="91435" bIns="45718" rtlCol="0" anchor="ctr">
            <a:normAutofit fontScale="85000" lnSpcReduction="10000"/>
          </a:bodyPr>
          <a:lstStyle>
            <a:lvl1pPr marL="358775" indent="0" algn="l" defTabSz="65311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ata Program Front Door Process </a:t>
            </a:r>
            <a:r>
              <a:rPr lang="en-US" dirty="0" smtClean="0">
                <a:sym typeface="Wingdings" pitchFamily="2" charset="2"/>
              </a:rPr>
              <a:t> Use Case Intake</a:t>
            </a:r>
            <a:endParaRPr lang="en-US" dirty="0"/>
          </a:p>
        </p:txBody>
      </p:sp>
      <p:sp>
        <p:nvSpPr>
          <p:cNvPr id="22" name="Oval 21"/>
          <p:cNvSpPr/>
          <p:nvPr/>
        </p:nvSpPr>
        <p:spPr>
          <a:xfrm>
            <a:off x="1483961" y="4928566"/>
            <a:ext cx="993204" cy="12879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3"/>
          <a:ext cx="39688" cy="47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39688" cy="47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3846480" y="1533087"/>
            <a:ext cx="6432934" cy="880241"/>
          </a:xfrm>
          <a:prstGeom prst="rect">
            <a:avLst/>
          </a:prstGeom>
          <a:noFill/>
        </p:spPr>
        <p:txBody>
          <a:bodyPr wrap="square" lIns="0" tIns="32004" rIns="64008" bIns="32004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300" b="1" dirty="0"/>
              <a:t>Initial Prioritization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Classify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Prioritize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Rank vs Others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Rule Outs</a:t>
            </a:r>
            <a:endParaRPr lang="en-US" sz="1000" dirty="0"/>
          </a:p>
        </p:txBody>
      </p:sp>
      <p:sp>
        <p:nvSpPr>
          <p:cNvPr id="42" name="TextBox 41"/>
          <p:cNvSpPr txBox="1"/>
          <p:nvPr/>
        </p:nvSpPr>
        <p:spPr>
          <a:xfrm>
            <a:off x="3590357" y="4706137"/>
            <a:ext cx="6432934" cy="264688"/>
          </a:xfrm>
          <a:prstGeom prst="rect">
            <a:avLst/>
          </a:prstGeom>
          <a:noFill/>
        </p:spPr>
        <p:txBody>
          <a:bodyPr wrap="square" lIns="0" tIns="32004" rIns="64008" bIns="32004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300" b="1" dirty="0"/>
              <a:t>Data Initiatives</a:t>
            </a:r>
            <a:endParaRPr lang="en-US" sz="1300" b="1" dirty="0"/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2023267" y="5496834"/>
            <a:ext cx="137347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833779" y="5137704"/>
            <a:ext cx="4615659" cy="741742"/>
          </a:xfrm>
          <a:prstGeom prst="rect">
            <a:avLst/>
          </a:prstGeom>
          <a:noFill/>
        </p:spPr>
        <p:txBody>
          <a:bodyPr wrap="square" lIns="0" tIns="32004" rIns="64008" bIns="32004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100" dirty="0"/>
              <a:t>1. Initiative 1 – Marketing – B2B</a:t>
            </a:r>
          </a:p>
          <a:p>
            <a:pPr>
              <a:buClr>
                <a:schemeClr val="accent1"/>
              </a:buClr>
            </a:pPr>
            <a:r>
              <a:rPr lang="en-US" sz="1100" dirty="0"/>
              <a:t>2. Initiative 2 – Marketing – Customer Churn</a:t>
            </a:r>
            <a:endParaRPr lang="en-US" sz="1100" dirty="0"/>
          </a:p>
          <a:p>
            <a:pPr>
              <a:buClr>
                <a:schemeClr val="accent1"/>
              </a:buClr>
            </a:pPr>
            <a:r>
              <a:rPr lang="en-US" sz="1100" dirty="0"/>
              <a:t>3. Initiative 3 – Finance – Revenue Recognition Staging</a:t>
            </a:r>
            <a:endParaRPr lang="en-US" sz="1100" dirty="0"/>
          </a:p>
          <a:p>
            <a:pPr>
              <a:buClr>
                <a:schemeClr val="accent1"/>
              </a:buClr>
            </a:pPr>
            <a:r>
              <a:rPr lang="en-US" sz="1100" dirty="0"/>
              <a:t>4. Initiative 4 – Network - Oceans</a:t>
            </a:r>
            <a:endParaRPr lang="en-US" sz="1100" dirty="0"/>
          </a:p>
        </p:txBody>
      </p:sp>
      <p:sp>
        <p:nvSpPr>
          <p:cNvPr id="17" name="Arc 16"/>
          <p:cNvSpPr/>
          <p:nvPr/>
        </p:nvSpPr>
        <p:spPr>
          <a:xfrm>
            <a:off x="-831332" y="998802"/>
            <a:ext cx="2315292" cy="7786255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sp>
        <p:nvSpPr>
          <p:cNvPr id="69" name="Arc 68"/>
          <p:cNvSpPr/>
          <p:nvPr/>
        </p:nvSpPr>
        <p:spPr>
          <a:xfrm flipH="1">
            <a:off x="2477164" y="998802"/>
            <a:ext cx="2315292" cy="7786255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sp>
        <p:nvSpPr>
          <p:cNvPr id="70" name="Oval 69"/>
          <p:cNvSpPr/>
          <p:nvPr/>
        </p:nvSpPr>
        <p:spPr>
          <a:xfrm>
            <a:off x="1032769" y="1217739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1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1513057" y="1556757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2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2" name="Oval 71"/>
          <p:cNvSpPr/>
          <p:nvPr/>
        </p:nvSpPr>
        <p:spPr>
          <a:xfrm>
            <a:off x="2023267" y="1217739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3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2500132" y="1520187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4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>
            <a:off x="1305241" y="2355245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5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1815451" y="2016226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6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6" name="Oval 75"/>
          <p:cNvSpPr/>
          <p:nvPr/>
        </p:nvSpPr>
        <p:spPr>
          <a:xfrm>
            <a:off x="2292316" y="2318675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7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7" name="Oval 76"/>
          <p:cNvSpPr/>
          <p:nvPr/>
        </p:nvSpPr>
        <p:spPr>
          <a:xfrm>
            <a:off x="1700627" y="2787696"/>
            <a:ext cx="318028" cy="4240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8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502363" y="2847199"/>
            <a:ext cx="6432934" cy="834074"/>
          </a:xfrm>
          <a:prstGeom prst="rect">
            <a:avLst/>
          </a:prstGeom>
          <a:noFill/>
        </p:spPr>
        <p:txBody>
          <a:bodyPr wrap="square" lIns="0" tIns="32004" rIns="64008" bIns="32004" rtlCol="0">
            <a:spAutoFit/>
          </a:bodyPr>
          <a:lstStyle/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Test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Validate 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Learn</a:t>
            </a:r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Update</a:t>
            </a:r>
            <a:endParaRPr lang="en-US" sz="1000" dirty="0"/>
          </a:p>
          <a:p>
            <a:pPr marL="200025" indent="-20002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Rule Outs</a:t>
            </a:r>
          </a:p>
        </p:txBody>
      </p:sp>
      <p:sp>
        <p:nvSpPr>
          <p:cNvPr id="23" name="Left Brace 22"/>
          <p:cNvSpPr/>
          <p:nvPr/>
        </p:nvSpPr>
        <p:spPr>
          <a:xfrm>
            <a:off x="3342699" y="2709796"/>
            <a:ext cx="171274" cy="1165948"/>
          </a:xfrm>
          <a:prstGeom prst="leftBrace">
            <a:avLst>
              <a:gd name="adj1" fmla="val 0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/>
          <p:cNvCxnSpPr/>
          <p:nvPr/>
        </p:nvCxnSpPr>
        <p:spPr>
          <a:xfrm flipH="1">
            <a:off x="2664734" y="3290955"/>
            <a:ext cx="573766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2133479" y="2866676"/>
            <a:ext cx="0" cy="84313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1700627" y="3415245"/>
            <a:ext cx="0" cy="84313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2292316" y="4032624"/>
            <a:ext cx="0" cy="84313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1974274" y="3836813"/>
            <a:ext cx="0" cy="84313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185632" y="823616"/>
            <a:ext cx="2740305" cy="372410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marL="240030" indent="-240030">
              <a:buFont typeface="Wingdings" panose="05000000000000000000" pitchFamily="2" charset="2"/>
              <a:buChar char="ü"/>
            </a:pPr>
            <a:r>
              <a:rPr lang="en-US" sz="1000" dirty="0"/>
              <a:t>Use Case Definition</a:t>
            </a:r>
          </a:p>
          <a:p>
            <a:pPr marL="240030" indent="-240030">
              <a:buFont typeface="Wingdings" panose="05000000000000000000" pitchFamily="2" charset="2"/>
              <a:buChar char="ü"/>
            </a:pPr>
            <a:r>
              <a:rPr lang="en-US" sz="1000" dirty="0"/>
              <a:t>High Level Effort</a:t>
            </a:r>
            <a:endParaRPr lang="en-US" sz="1000" dirty="0"/>
          </a:p>
        </p:txBody>
      </p:sp>
      <p:sp>
        <p:nvSpPr>
          <p:cNvPr id="29" name="Left Brace 28"/>
          <p:cNvSpPr/>
          <p:nvPr/>
        </p:nvSpPr>
        <p:spPr>
          <a:xfrm>
            <a:off x="3656465" y="1678851"/>
            <a:ext cx="171274" cy="843138"/>
          </a:xfrm>
          <a:prstGeom prst="leftBrace">
            <a:avLst>
              <a:gd name="adj1" fmla="val 0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 flipH="1">
            <a:off x="2978500" y="2103130"/>
            <a:ext cx="573766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3471515" y="2734494"/>
            <a:ext cx="1440523" cy="264688"/>
          </a:xfrm>
          <a:prstGeom prst="rect">
            <a:avLst/>
          </a:prstGeom>
        </p:spPr>
        <p:txBody>
          <a:bodyPr wrap="none" lIns="64008" tIns="32004" rIns="64008" bIns="32004">
            <a:spAutoFit/>
          </a:bodyPr>
          <a:lstStyle/>
          <a:p>
            <a:r>
              <a:rPr lang="en-US" sz="1300" b="1" dirty="0"/>
              <a:t>Pilot and Refine </a:t>
            </a:r>
            <a:endParaRPr lang="en-US" sz="1300" dirty="0"/>
          </a:p>
        </p:txBody>
      </p:sp>
      <p:sp>
        <p:nvSpPr>
          <p:cNvPr id="5" name="Rectangle 4"/>
          <p:cNvSpPr/>
          <p:nvPr/>
        </p:nvSpPr>
        <p:spPr>
          <a:xfrm>
            <a:off x="1293465" y="791305"/>
            <a:ext cx="971019" cy="495520"/>
          </a:xfrm>
          <a:prstGeom prst="rect">
            <a:avLst/>
          </a:prstGeom>
        </p:spPr>
        <p:txBody>
          <a:bodyPr wrap="square" lIns="64008" tIns="32004" rIns="64008" bIns="32004">
            <a:spAutoFit/>
          </a:bodyPr>
          <a:lstStyle/>
          <a:p>
            <a:r>
              <a:rPr lang="en-US" sz="1400" b="1" dirty="0"/>
              <a:t>Use Cases </a:t>
            </a:r>
            <a:endParaRPr lang="en-US" sz="1400" dirty="0"/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2017662" y="4323954"/>
            <a:ext cx="14962" cy="1165299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Left Brace 35"/>
          <p:cNvSpPr/>
          <p:nvPr/>
        </p:nvSpPr>
        <p:spPr>
          <a:xfrm>
            <a:off x="3436369" y="4990120"/>
            <a:ext cx="189499" cy="1029680"/>
          </a:xfrm>
          <a:prstGeom prst="leftBrace">
            <a:avLst>
              <a:gd name="adj1" fmla="val 0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3313390" y="1524034"/>
            <a:ext cx="384814" cy="424038"/>
          </a:xfrm>
          <a:prstGeom prst="ellipse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3044223" y="2525094"/>
            <a:ext cx="318028" cy="424038"/>
          </a:xfrm>
          <a:prstGeom prst="ellipse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9" name="Oval 38"/>
          <p:cNvSpPr/>
          <p:nvPr/>
        </p:nvSpPr>
        <p:spPr>
          <a:xfrm>
            <a:off x="3139474" y="4818566"/>
            <a:ext cx="318028" cy="424038"/>
          </a:xfrm>
          <a:prstGeom prst="ellipse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3562483" y="5798344"/>
            <a:ext cx="238904" cy="1944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3562483" y="5574224"/>
            <a:ext cx="238904" cy="1944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4" name="Oval 43"/>
          <p:cNvSpPr/>
          <p:nvPr/>
        </p:nvSpPr>
        <p:spPr>
          <a:xfrm>
            <a:off x="3568086" y="5350106"/>
            <a:ext cx="238904" cy="1944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3568086" y="5133456"/>
            <a:ext cx="238904" cy="194438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2004" rIns="0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35312" y="2052853"/>
            <a:ext cx="3965826" cy="2480679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r>
              <a:rPr lang="en-US" sz="1400" dirty="0"/>
              <a:t>Front Door Process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r>
              <a:rPr lang="en-US" sz="1300" dirty="0"/>
              <a:t>Governance Meeting Twice/week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r>
              <a:rPr lang="en-US" sz="1300" dirty="0"/>
              <a:t>Triages All Inputs across company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r>
              <a:rPr lang="en-US" sz="1300" dirty="0"/>
              <a:t>Reviews Business Case, Data Source, Use Case and High Level Design and Effort Requirements.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r>
              <a:rPr lang="en-US" sz="1300" dirty="0"/>
              <a:t>Prioritizes Inputs and schedules next steps with sponsors and technical owners vs latest Data Program plan and other use cases submitted.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r>
              <a:rPr lang="en-US" sz="1300" dirty="0"/>
              <a:t>Resource Requirement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r>
              <a:rPr lang="en-US" sz="1300" dirty="0"/>
              <a:t>Architect/Data </a:t>
            </a:r>
            <a:r>
              <a:rPr lang="en-US" sz="1300" dirty="0"/>
              <a:t>Sources</a:t>
            </a:r>
          </a:p>
          <a:p>
            <a:pPr marL="320040" indent="-32004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6954057" y="5623834"/>
            <a:ext cx="64332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7539491" y="5328881"/>
            <a:ext cx="1349134" cy="495520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r>
              <a:rPr lang="en-US" sz="1400" dirty="0"/>
              <a:t>Data Platform Strategic Plan</a:t>
            </a:r>
            <a:endParaRPr lang="en-US" sz="1000" dirty="0"/>
          </a:p>
        </p:txBody>
      </p:sp>
      <p:sp>
        <p:nvSpPr>
          <p:cNvPr id="49" name="TextBox 48"/>
          <p:cNvSpPr txBox="1"/>
          <p:nvPr/>
        </p:nvSpPr>
        <p:spPr>
          <a:xfrm>
            <a:off x="7553772" y="4967608"/>
            <a:ext cx="5316474" cy="264688"/>
          </a:xfrm>
          <a:prstGeom prst="rect">
            <a:avLst/>
          </a:prstGeom>
          <a:noFill/>
        </p:spPr>
        <p:txBody>
          <a:bodyPr wrap="square" lIns="0" tIns="32004" rIns="64008" bIns="32004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300" b="1" dirty="0"/>
              <a:t>Updates</a:t>
            </a:r>
            <a:endParaRPr lang="en-US" sz="1300" b="1" dirty="0"/>
          </a:p>
        </p:txBody>
      </p:sp>
      <p:sp>
        <p:nvSpPr>
          <p:cNvPr id="51" name="Rectangle 50"/>
          <p:cNvSpPr/>
          <p:nvPr/>
        </p:nvSpPr>
        <p:spPr>
          <a:xfrm>
            <a:off x="4630619" y="2435061"/>
            <a:ext cx="421054" cy="35959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/>
          <p:cNvCxnSpPr>
            <a:stCxn id="51" idx="0"/>
            <a:endCxn id="51" idx="2"/>
          </p:cNvCxnSpPr>
          <p:nvPr/>
        </p:nvCxnSpPr>
        <p:spPr>
          <a:xfrm>
            <a:off x="4841146" y="2435061"/>
            <a:ext cx="0" cy="359598"/>
          </a:xfrm>
          <a:prstGeom prst="straightConnector1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51" idx="1"/>
            <a:endCxn id="51" idx="3"/>
          </p:cNvCxnSpPr>
          <p:nvPr/>
        </p:nvCxnSpPr>
        <p:spPr>
          <a:xfrm>
            <a:off x="4609565" y="2614860"/>
            <a:ext cx="463160" cy="0"/>
          </a:xfrm>
          <a:prstGeom prst="straightConnector1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457200" y="6477000"/>
            <a:ext cx="6400800" cy="24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11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76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4500" y="571500"/>
          <a:ext cx="99219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4500" y="571500"/>
                        <a:ext cx="99219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</p:spPr>
        <p:txBody>
          <a:bodyPr anchor="ctr" anchorCtr="0">
            <a:noAutofit/>
          </a:bodyPr>
          <a:lstStyle/>
          <a:p>
            <a:r>
              <a:rPr lang="en-US" dirty="0" smtClean="0"/>
              <a:t>Establish Full Spectrum of Data Govern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EF5BF6F9-B5AF-4670-92EA-201821DBCC36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77" name="Text Placeholder 29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454109" y="1324838"/>
            <a:ext cx="2072882" cy="47078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000" b="1">
                <a:solidFill>
                  <a:schemeClr val="bg2">
                    <a:lumMod val="1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sz="900" b="0" dirty="0">
                <a:solidFill>
                  <a:schemeClr val="tx1"/>
                </a:solidFill>
                <a:latin typeface="+mj-lt"/>
              </a:rPr>
              <a:t>Data Governance: planning, supervision and control over data and its use</a:t>
            </a:r>
          </a:p>
        </p:txBody>
      </p:sp>
      <p:grpSp>
        <p:nvGrpSpPr>
          <p:cNvPr id="3" name="Group 49"/>
          <p:cNvGrpSpPr/>
          <p:nvPr/>
        </p:nvGrpSpPr>
        <p:grpSpPr>
          <a:xfrm>
            <a:off x="3196505" y="2294288"/>
            <a:ext cx="2771331" cy="3586368"/>
            <a:chOff x="4572000" y="150264"/>
            <a:chExt cx="2312987" cy="2209800"/>
          </a:xfrm>
          <a:solidFill>
            <a:schemeClr val="accent1"/>
          </a:solidFill>
        </p:grpSpPr>
        <p:sp>
          <p:nvSpPr>
            <p:cNvPr id="51" name="Oval 50"/>
            <p:cNvSpPr/>
            <p:nvPr/>
          </p:nvSpPr>
          <p:spPr>
            <a:xfrm>
              <a:off x="4572000" y="150264"/>
              <a:ext cx="2312987" cy="2209800"/>
            </a:xfrm>
            <a:prstGeom prst="ellipse">
              <a:avLst/>
            </a:prstGeom>
            <a:grpFill/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52" name="Straight Connector 51"/>
            <p:cNvCxnSpPr>
              <a:stCxn id="51" idx="0"/>
              <a:endCxn id="51" idx="4"/>
            </p:cNvCxnSpPr>
            <p:nvPr/>
          </p:nvCxnSpPr>
          <p:spPr>
            <a:xfrm>
              <a:off x="5728494" y="150264"/>
              <a:ext cx="0" cy="2209800"/>
            </a:xfrm>
            <a:prstGeom prst="line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51" idx="6"/>
              <a:endCxn id="51" idx="2"/>
            </p:cNvCxnSpPr>
            <p:nvPr/>
          </p:nvCxnSpPr>
          <p:spPr>
            <a:xfrm flipH="1">
              <a:off x="4572000" y="1255164"/>
              <a:ext cx="2312987" cy="0"/>
            </a:xfrm>
            <a:prstGeom prst="line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>
              <a:stCxn id="51" idx="7"/>
              <a:endCxn id="51" idx="3"/>
            </p:cNvCxnSpPr>
            <p:nvPr/>
          </p:nvCxnSpPr>
          <p:spPr>
            <a:xfrm flipH="1">
              <a:off x="4910729" y="473882"/>
              <a:ext cx="1635529" cy="1562564"/>
            </a:xfrm>
            <a:prstGeom prst="line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51" idx="1"/>
              <a:endCxn id="51" idx="5"/>
            </p:cNvCxnSpPr>
            <p:nvPr/>
          </p:nvCxnSpPr>
          <p:spPr>
            <a:xfrm>
              <a:off x="4910729" y="473882"/>
              <a:ext cx="1635529" cy="1562564"/>
            </a:xfrm>
            <a:prstGeom prst="line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/>
            <p:cNvSpPr/>
            <p:nvPr/>
          </p:nvSpPr>
          <p:spPr>
            <a:xfrm>
              <a:off x="5357218" y="914400"/>
              <a:ext cx="703759" cy="6858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57" name="Title 2"/>
          <p:cNvSpPr txBox="1">
            <a:spLocks/>
          </p:cNvSpPr>
          <p:nvPr/>
        </p:nvSpPr>
        <p:spPr>
          <a:xfrm>
            <a:off x="4550665" y="5023748"/>
            <a:ext cx="853405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defPPr>
              <a:defRPr lang="en-US"/>
            </a:defPPr>
            <a:lvl1pPr algn="ctr" eaLnBrk="1" latinLnBrk="0" hangingPunct="1">
              <a:buNone/>
              <a:defRPr kumimoji="0" sz="1000" b="1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sz="900" b="0" dirty="0">
                <a:solidFill>
                  <a:schemeClr val="tx1"/>
                </a:solidFill>
              </a:rPr>
              <a:t>Data Quality</a:t>
            </a:r>
          </a:p>
          <a:p>
            <a:r>
              <a:rPr lang="en-GB" sz="900" b="0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58" name="Title 2"/>
          <p:cNvSpPr txBox="1">
            <a:spLocks/>
          </p:cNvSpPr>
          <p:nvPr/>
        </p:nvSpPr>
        <p:spPr>
          <a:xfrm>
            <a:off x="5023055" y="4250965"/>
            <a:ext cx="788548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Data Security</a:t>
            </a:r>
          </a:p>
          <a:p>
            <a:pPr algn="ctr"/>
            <a:r>
              <a:rPr lang="en-GB" sz="900" dirty="0">
                <a:solidFill>
                  <a:schemeClr val="tx1"/>
                </a:solidFill>
              </a:rPr>
              <a:t>Management</a:t>
            </a:r>
          </a:p>
        </p:txBody>
      </p:sp>
      <p:sp>
        <p:nvSpPr>
          <p:cNvPr id="59" name="Title 2"/>
          <p:cNvSpPr txBox="1">
            <a:spLocks/>
          </p:cNvSpPr>
          <p:nvPr/>
        </p:nvSpPr>
        <p:spPr>
          <a:xfrm>
            <a:off x="5023055" y="3465740"/>
            <a:ext cx="788548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Database Management</a:t>
            </a:r>
          </a:p>
        </p:txBody>
      </p:sp>
      <p:sp>
        <p:nvSpPr>
          <p:cNvPr id="60" name="Title 2"/>
          <p:cNvSpPr txBox="1">
            <a:spLocks/>
          </p:cNvSpPr>
          <p:nvPr/>
        </p:nvSpPr>
        <p:spPr>
          <a:xfrm>
            <a:off x="4522871" y="2628237"/>
            <a:ext cx="821899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Data Architecture, Analysis &amp; Design</a:t>
            </a:r>
          </a:p>
        </p:txBody>
      </p:sp>
      <p:sp>
        <p:nvSpPr>
          <p:cNvPr id="61" name="Title 2"/>
          <p:cNvSpPr txBox="1">
            <a:spLocks/>
          </p:cNvSpPr>
          <p:nvPr/>
        </p:nvSpPr>
        <p:spPr>
          <a:xfrm>
            <a:off x="4136760" y="3805088"/>
            <a:ext cx="843217" cy="708062"/>
          </a:xfrm>
          <a:prstGeom prst="rect">
            <a:avLst/>
          </a:prstGeom>
          <a:ln>
            <a:noFill/>
          </a:ln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000" dirty="0">
                <a:solidFill>
                  <a:schemeClr val="tx1"/>
                </a:solidFill>
              </a:rPr>
              <a:t>Data Governance </a:t>
            </a:r>
          </a:p>
        </p:txBody>
      </p:sp>
      <p:sp>
        <p:nvSpPr>
          <p:cNvPr id="62" name="Title 2"/>
          <p:cNvSpPr txBox="1">
            <a:spLocks/>
          </p:cNvSpPr>
          <p:nvPr/>
        </p:nvSpPr>
        <p:spPr>
          <a:xfrm>
            <a:off x="3842079" y="2770855"/>
            <a:ext cx="767634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Metadata Management</a:t>
            </a:r>
          </a:p>
        </p:txBody>
      </p:sp>
      <p:sp>
        <p:nvSpPr>
          <p:cNvPr id="63" name="Title 2"/>
          <p:cNvSpPr txBox="1">
            <a:spLocks/>
          </p:cNvSpPr>
          <p:nvPr/>
        </p:nvSpPr>
        <p:spPr>
          <a:xfrm>
            <a:off x="3348775" y="3316157"/>
            <a:ext cx="799005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Document Record &amp; Content Management</a:t>
            </a:r>
          </a:p>
        </p:txBody>
      </p:sp>
      <p:sp>
        <p:nvSpPr>
          <p:cNvPr id="64" name="Title 2"/>
          <p:cNvSpPr txBox="1">
            <a:spLocks/>
          </p:cNvSpPr>
          <p:nvPr/>
        </p:nvSpPr>
        <p:spPr>
          <a:xfrm>
            <a:off x="3242944" y="4088944"/>
            <a:ext cx="826120" cy="91851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Data Warehousing &amp; Business Intelligence </a:t>
            </a:r>
            <a:r>
              <a:rPr lang="en-GB" sz="900" dirty="0" err="1">
                <a:solidFill>
                  <a:schemeClr val="tx1"/>
                </a:solidFill>
              </a:rPr>
              <a:t>Mgnt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65" name="Title 2"/>
          <p:cNvSpPr txBox="1">
            <a:spLocks/>
          </p:cNvSpPr>
          <p:nvPr/>
        </p:nvSpPr>
        <p:spPr>
          <a:xfrm>
            <a:off x="3842079" y="4945848"/>
            <a:ext cx="767634" cy="382522"/>
          </a:xfrm>
          <a:prstGeom prst="rect">
            <a:avLst/>
          </a:prstGeom>
        </p:spPr>
        <p:txBody>
          <a:bodyPr lIns="64008" tIns="32004" rIns="64008" bIns="32004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900" dirty="0">
                <a:solidFill>
                  <a:schemeClr val="tx1"/>
                </a:solidFill>
              </a:rPr>
              <a:t>Reference &amp; Master Data Management </a:t>
            </a:r>
          </a:p>
        </p:txBody>
      </p:sp>
      <p:sp>
        <p:nvSpPr>
          <p:cNvPr id="66" name="Oval 65"/>
          <p:cNvSpPr/>
          <p:nvPr/>
        </p:nvSpPr>
        <p:spPr>
          <a:xfrm>
            <a:off x="5023055" y="2375132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67" name="Oval 66"/>
          <p:cNvSpPr/>
          <p:nvPr/>
        </p:nvSpPr>
        <p:spPr>
          <a:xfrm>
            <a:off x="5731641" y="3309938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68" name="Oval 67"/>
          <p:cNvSpPr/>
          <p:nvPr/>
        </p:nvSpPr>
        <p:spPr>
          <a:xfrm>
            <a:off x="5731641" y="4634246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3</a:t>
            </a:r>
          </a:p>
        </p:txBody>
      </p:sp>
      <p:sp>
        <p:nvSpPr>
          <p:cNvPr id="69" name="Oval 68"/>
          <p:cNvSpPr/>
          <p:nvPr/>
        </p:nvSpPr>
        <p:spPr>
          <a:xfrm>
            <a:off x="4964006" y="5569052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4</a:t>
            </a:r>
          </a:p>
        </p:txBody>
      </p:sp>
      <p:sp>
        <p:nvSpPr>
          <p:cNvPr id="70" name="Oval 69"/>
          <p:cNvSpPr/>
          <p:nvPr/>
        </p:nvSpPr>
        <p:spPr>
          <a:xfrm>
            <a:off x="3960176" y="5569052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5</a:t>
            </a:r>
          </a:p>
        </p:txBody>
      </p:sp>
      <p:sp>
        <p:nvSpPr>
          <p:cNvPr id="71" name="Oval 70"/>
          <p:cNvSpPr/>
          <p:nvPr/>
        </p:nvSpPr>
        <p:spPr>
          <a:xfrm>
            <a:off x="3192542" y="4556346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72" name="Oval 71"/>
          <p:cNvSpPr/>
          <p:nvPr/>
        </p:nvSpPr>
        <p:spPr>
          <a:xfrm>
            <a:off x="3236211" y="3300730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7</a:t>
            </a:r>
          </a:p>
        </p:txBody>
      </p:sp>
      <p:sp>
        <p:nvSpPr>
          <p:cNvPr id="73" name="Oval 72"/>
          <p:cNvSpPr/>
          <p:nvPr/>
        </p:nvSpPr>
        <p:spPr>
          <a:xfrm>
            <a:off x="3970633" y="2375132"/>
            <a:ext cx="177146" cy="23370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  <a:latin typeface="+mj-lt"/>
              </a:rPr>
              <a:t>8</a:t>
            </a:r>
          </a:p>
        </p:txBody>
      </p:sp>
      <p:sp>
        <p:nvSpPr>
          <p:cNvPr id="74" name="Curved Left Arrow 73"/>
          <p:cNvSpPr/>
          <p:nvPr/>
        </p:nvSpPr>
        <p:spPr>
          <a:xfrm>
            <a:off x="5561984" y="2294287"/>
            <a:ext cx="523950" cy="3742169"/>
          </a:xfrm>
          <a:prstGeom prst="curvedLeftArrow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5" name="Curved Left Arrow 74"/>
          <p:cNvSpPr/>
          <p:nvPr/>
        </p:nvSpPr>
        <p:spPr>
          <a:xfrm flipH="1" flipV="1">
            <a:off x="3083220" y="2186043"/>
            <a:ext cx="581713" cy="3772513"/>
          </a:xfrm>
          <a:prstGeom prst="curvedLeftArrow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6" name="Text Placeholder 29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50515" y="1342131"/>
            <a:ext cx="1576416" cy="740570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</a:rPr>
              <a:t>Meta Data Management: integrating, controlling and providing consistent definitions</a:t>
            </a:r>
          </a:p>
        </p:txBody>
      </p:sp>
      <p:sp>
        <p:nvSpPr>
          <p:cNvPr id="78" name="Text Placeholder 29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751440" y="5042423"/>
            <a:ext cx="1358433" cy="90187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000" b="1">
                <a:solidFill>
                  <a:schemeClr val="bg2">
                    <a:lumMod val="1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sz="900" b="0" dirty="0">
                <a:solidFill>
                  <a:schemeClr val="tx1"/>
                </a:solidFill>
                <a:latin typeface="+mj-lt"/>
              </a:rPr>
              <a:t>Data Quality Management: defining, monitoring and improving data quality via defined metrics and measurements</a:t>
            </a:r>
          </a:p>
        </p:txBody>
      </p:sp>
      <p:sp>
        <p:nvSpPr>
          <p:cNvPr id="79" name="Text Placeholder 29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31266" y="4965246"/>
            <a:ext cx="1440161" cy="884552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000" b="1">
                <a:solidFill>
                  <a:schemeClr val="bg2">
                    <a:lumMod val="1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sz="900" b="0" dirty="0">
                <a:solidFill>
                  <a:schemeClr val="tx1"/>
                </a:solidFill>
                <a:latin typeface="+mj-lt"/>
              </a:rPr>
              <a:t>Reference &amp; Master Data Management: managing common and consistent non-transactional data across the enterprise</a:t>
            </a:r>
          </a:p>
        </p:txBody>
      </p:sp>
      <p:sp>
        <p:nvSpPr>
          <p:cNvPr id="80" name="Text Placeholder 29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692391" y="2659235"/>
            <a:ext cx="1359340" cy="660428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000" b="1">
                <a:solidFill>
                  <a:schemeClr val="bg2">
                    <a:lumMod val="1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sz="900" b="0" dirty="0">
                <a:solidFill>
                  <a:schemeClr val="tx1"/>
                </a:solidFill>
                <a:latin typeface="+mj-lt"/>
              </a:rPr>
              <a:t>Database Management: management and  maintenance  of information stored in a computer system</a:t>
            </a:r>
          </a:p>
        </p:txBody>
      </p:sp>
      <p:sp>
        <p:nvSpPr>
          <p:cNvPr id="81" name="Text Placeholder 29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6692391" y="3905080"/>
            <a:ext cx="1543455" cy="773731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000" b="1">
                <a:solidFill>
                  <a:schemeClr val="bg2">
                    <a:lumMod val="1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sz="900" b="0" dirty="0">
                <a:solidFill>
                  <a:schemeClr val="tx1"/>
                </a:solidFill>
                <a:latin typeface="+mj-lt"/>
              </a:rPr>
              <a:t>Data Security Management: ensuring that the right constituents have access do data when needed </a:t>
            </a:r>
          </a:p>
        </p:txBody>
      </p:sp>
      <p:sp>
        <p:nvSpPr>
          <p:cNvPr id="82" name="Flowchart: Magnetic Disk 81"/>
          <p:cNvSpPr/>
          <p:nvPr/>
        </p:nvSpPr>
        <p:spPr>
          <a:xfrm>
            <a:off x="6162528" y="2926347"/>
            <a:ext cx="339704" cy="391212"/>
          </a:xfrm>
          <a:prstGeom prst="flowChartMagneticDisk">
            <a:avLst/>
          </a:prstGeom>
          <a:solidFill>
            <a:schemeClr val="bg2">
              <a:lumMod val="10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64008" tIns="32004" rIns="64008" bIns="32004" rtlCol="0" anchor="ctr"/>
          <a:lstStyle/>
          <a:p>
            <a:pPr algn="ctr">
              <a:defRPr/>
            </a:pPr>
            <a:r>
              <a:rPr lang="en-US" sz="600" kern="0" dirty="0">
                <a:latin typeface="+mj-lt"/>
              </a:rPr>
              <a:t>DCIS</a:t>
            </a:r>
          </a:p>
        </p:txBody>
      </p:sp>
      <p:sp>
        <p:nvSpPr>
          <p:cNvPr id="83" name="Text Placeholder 29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050515" y="2264128"/>
            <a:ext cx="1393291" cy="1084268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</a:rPr>
              <a:t>Document Record &amp; Content Management: ensuring that documents are stored and easily accessible across the enterprise</a:t>
            </a:r>
          </a:p>
        </p:txBody>
      </p:sp>
      <p:sp>
        <p:nvSpPr>
          <p:cNvPr id="84" name="Text Placeholder 29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78527" y="3492644"/>
            <a:ext cx="1452388" cy="1023808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</a:rPr>
              <a:t>Data Warehousing &amp; Business Intelligence Management: ensuring transactional data is summarized and aggregated into useful business value</a:t>
            </a:r>
          </a:p>
        </p:txBody>
      </p:sp>
      <p:sp>
        <p:nvSpPr>
          <p:cNvPr id="85" name="Line Callout 1 (Accent Bar) 84"/>
          <p:cNvSpPr/>
          <p:nvPr/>
        </p:nvSpPr>
        <p:spPr>
          <a:xfrm>
            <a:off x="5697569" y="1515315"/>
            <a:ext cx="1544766" cy="778972"/>
          </a:xfrm>
          <a:prstGeom prst="accentCallout1">
            <a:avLst>
              <a:gd name="adj1" fmla="val 40243"/>
              <a:gd name="adj2" fmla="val 37414"/>
              <a:gd name="adj3" fmla="val 114291"/>
              <a:gd name="adj4" fmla="val -33105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6" name="Text Placeholder 29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331531" y="1495359"/>
            <a:ext cx="1668941" cy="90187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008" tIns="38405" rIns="64008" bIns="3840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000" b="1">
                <a:solidFill>
                  <a:schemeClr val="bg2">
                    <a:lumMod val="1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sz="900" b="0" dirty="0">
                <a:solidFill>
                  <a:schemeClr val="tx1"/>
                </a:solidFill>
                <a:latin typeface="+mj-lt"/>
              </a:rPr>
              <a:t>Data Architecture, Analysis &amp; Design: ensuring development at the project level adheres to data modeling standards, procedures and “Best Practices”</a:t>
            </a:r>
          </a:p>
        </p:txBody>
      </p:sp>
      <p:pic>
        <p:nvPicPr>
          <p:cNvPr id="87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7689" y="1647855"/>
            <a:ext cx="423264" cy="419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8" name="Line Callout 1 (Accent Bar) 87"/>
          <p:cNvSpPr/>
          <p:nvPr/>
        </p:nvSpPr>
        <p:spPr>
          <a:xfrm>
            <a:off x="6460598" y="2683307"/>
            <a:ext cx="999429" cy="778972"/>
          </a:xfrm>
          <a:prstGeom prst="accentCallout1">
            <a:avLst>
              <a:gd name="adj1" fmla="val 56363"/>
              <a:gd name="adj2" fmla="val 19467"/>
              <a:gd name="adj3" fmla="val 89215"/>
              <a:gd name="adj4" fmla="val -57004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9" name="Flowchart: Magnetic Disk 88"/>
          <p:cNvSpPr/>
          <p:nvPr/>
        </p:nvSpPr>
        <p:spPr>
          <a:xfrm>
            <a:off x="6234591" y="3024375"/>
            <a:ext cx="339704" cy="391212"/>
          </a:xfrm>
          <a:prstGeom prst="flowChartMagneticDisk">
            <a:avLst/>
          </a:prstGeom>
          <a:solidFill>
            <a:schemeClr val="bg2">
              <a:lumMod val="10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64008" tIns="32004" rIns="64008" bIns="32004" rtlCol="0" anchor="ctr"/>
          <a:lstStyle/>
          <a:p>
            <a:pPr algn="ctr">
              <a:defRPr/>
            </a:pPr>
            <a:r>
              <a:rPr lang="en-US" sz="600" kern="0" dirty="0">
                <a:latin typeface="+mj-lt"/>
              </a:rPr>
              <a:t>DB</a:t>
            </a:r>
          </a:p>
        </p:txBody>
      </p:sp>
      <p:sp>
        <p:nvSpPr>
          <p:cNvPr id="90" name="Line Callout 1 (Accent Bar) 89"/>
          <p:cNvSpPr/>
          <p:nvPr/>
        </p:nvSpPr>
        <p:spPr>
          <a:xfrm>
            <a:off x="6461440" y="3991776"/>
            <a:ext cx="999429" cy="778972"/>
          </a:xfrm>
          <a:prstGeom prst="accentCallout1">
            <a:avLst>
              <a:gd name="adj1" fmla="val 56363"/>
              <a:gd name="adj2" fmla="val 19467"/>
              <a:gd name="adj3" fmla="val 89215"/>
              <a:gd name="adj4" fmla="val -57004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1" name="Picture 6" descr="C:\Users\tdehart\AppData\Local\Microsoft\Windows\Temporary Internet Files\Content.IE5\JWR6JSNU\MP900404902[1]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528" y="4272491"/>
            <a:ext cx="407407" cy="450759"/>
          </a:xfrm>
          <a:prstGeom prst="rect">
            <a:avLst/>
          </a:prstGeom>
          <a:noFill/>
          <a:extLst/>
        </p:spPr>
      </p:pic>
      <p:sp>
        <p:nvSpPr>
          <p:cNvPr id="92" name="Line Callout 1 (Accent Bar) 91"/>
          <p:cNvSpPr/>
          <p:nvPr/>
        </p:nvSpPr>
        <p:spPr>
          <a:xfrm>
            <a:off x="6652787" y="5139625"/>
            <a:ext cx="818023" cy="778972"/>
          </a:xfrm>
          <a:prstGeom prst="accentCallout1">
            <a:avLst>
              <a:gd name="adj1" fmla="val 56363"/>
              <a:gd name="adj2" fmla="val 19467"/>
              <a:gd name="adj3" fmla="val 74886"/>
              <a:gd name="adj4" fmla="val -184785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3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073" y="5456312"/>
            <a:ext cx="438320" cy="4062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94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143" y="5320086"/>
            <a:ext cx="413152" cy="406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5" name="Line Callout 1 (Accent Bar) 94"/>
          <p:cNvSpPr/>
          <p:nvPr/>
        </p:nvSpPr>
        <p:spPr>
          <a:xfrm flipH="1">
            <a:off x="1546140" y="1271497"/>
            <a:ext cx="2016666" cy="778972"/>
          </a:xfrm>
          <a:prstGeom prst="accentCallout1">
            <a:avLst>
              <a:gd name="adj1" fmla="val 42034"/>
              <a:gd name="adj2" fmla="val 45805"/>
              <a:gd name="adj3" fmla="val 144740"/>
              <a:gd name="adj4" fmla="val -20519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6" name="Picture 3" descr="C:\Users\tdehart\AppData\Local\Microsoft\Windows\Temporary Internet Files\Content.IE5\NGM0M8YL\MC900439822[1]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2296" y="1501190"/>
            <a:ext cx="526216" cy="48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Line Callout 1 (Accent Bar) 96"/>
          <p:cNvSpPr/>
          <p:nvPr/>
        </p:nvSpPr>
        <p:spPr>
          <a:xfrm flipH="1">
            <a:off x="1396692" y="5051529"/>
            <a:ext cx="2016666" cy="778972"/>
          </a:xfrm>
          <a:prstGeom prst="accentCallout1">
            <a:avLst>
              <a:gd name="adj1" fmla="val 52781"/>
              <a:gd name="adj2" fmla="val 41085"/>
              <a:gd name="adj3" fmla="val 76678"/>
              <a:gd name="adj4" fmla="val -26288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8" name="Line Callout 1 (Accent Bar) 97"/>
          <p:cNvSpPr/>
          <p:nvPr/>
        </p:nvSpPr>
        <p:spPr>
          <a:xfrm flipH="1">
            <a:off x="2145634" y="2491984"/>
            <a:ext cx="580222" cy="923603"/>
          </a:xfrm>
          <a:prstGeom prst="accentCallout1">
            <a:avLst>
              <a:gd name="adj1" fmla="val 42034"/>
              <a:gd name="adj2" fmla="val 45805"/>
              <a:gd name="adj3" fmla="val 94741"/>
              <a:gd name="adj4" fmla="val -86962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9" name="Picture 3" descr="C:\Users\tdehart\AppData\Local\Microsoft\Windows\Temporary Internet Files\Content.IE5\093QCVYD\MC900432599[1]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964" y="2744231"/>
            <a:ext cx="366594" cy="483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3" descr="C:\Users\tdehart\AppData\Local\Microsoft\Windows\Temporary Internet Files\Content.IE5\093QCVYD\MC900432599[1]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863" y="2858022"/>
            <a:ext cx="366594" cy="483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Line Callout 1 (Accent Bar) 100"/>
          <p:cNvSpPr/>
          <p:nvPr/>
        </p:nvSpPr>
        <p:spPr>
          <a:xfrm flipH="1">
            <a:off x="1332108" y="3699442"/>
            <a:ext cx="2016666" cy="948001"/>
          </a:xfrm>
          <a:prstGeom prst="accentCallout1">
            <a:avLst>
              <a:gd name="adj1" fmla="val 40369"/>
              <a:gd name="adj2" fmla="val 40561"/>
              <a:gd name="adj3" fmla="val 96380"/>
              <a:gd name="adj4" fmla="val 7275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endParaRPr lang="en-US" sz="13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2" name="Flowchart: Card 101"/>
          <p:cNvSpPr/>
          <p:nvPr/>
        </p:nvSpPr>
        <p:spPr>
          <a:xfrm>
            <a:off x="2618024" y="5179552"/>
            <a:ext cx="354293" cy="383110"/>
          </a:xfrm>
          <a:prstGeom prst="flowChartPunchedCard">
            <a:avLst/>
          </a:prstGeom>
          <a:solidFill>
            <a:schemeClr val="bg2">
              <a:lumMod val="10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64008" tIns="32004" rIns="64008" bIns="32004" rtlCol="0" anchor="ctr"/>
          <a:lstStyle/>
          <a:p>
            <a:pPr algn="ctr"/>
            <a:r>
              <a:rPr lang="en-US" sz="300" kern="0" dirty="0">
                <a:latin typeface="+mj-lt"/>
              </a:rPr>
              <a:t>Districts</a:t>
            </a:r>
          </a:p>
          <a:p>
            <a:pPr algn="ctr"/>
            <a:r>
              <a:rPr lang="en-US" sz="300" kern="0" dirty="0">
                <a:latin typeface="+mj-lt"/>
              </a:rPr>
              <a:t>PDP Code</a:t>
            </a:r>
          </a:p>
          <a:p>
            <a:pPr algn="ctr"/>
            <a:r>
              <a:rPr lang="en-US" sz="300" kern="0" dirty="0">
                <a:latin typeface="+mj-lt"/>
              </a:rPr>
              <a:t>Project Class</a:t>
            </a:r>
          </a:p>
        </p:txBody>
      </p:sp>
      <p:sp>
        <p:nvSpPr>
          <p:cNvPr id="103" name="Flowchart: Card 102"/>
          <p:cNvSpPr/>
          <p:nvPr/>
        </p:nvSpPr>
        <p:spPr>
          <a:xfrm>
            <a:off x="2693819" y="5231579"/>
            <a:ext cx="354293" cy="411188"/>
          </a:xfrm>
          <a:prstGeom prst="flowChartPunchedCard">
            <a:avLst/>
          </a:prstGeom>
          <a:solidFill>
            <a:schemeClr val="bg2">
              <a:lumMod val="10000"/>
            </a:schemeClr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64008" tIns="32004" rIns="64008" bIns="32004" rtlCol="0" anchor="ctr"/>
          <a:lstStyle/>
          <a:p>
            <a:pPr algn="ctr"/>
            <a:r>
              <a:rPr lang="en-US" sz="300" kern="0" dirty="0">
                <a:latin typeface="+mj-lt"/>
              </a:rPr>
              <a:t>Data</a:t>
            </a:r>
          </a:p>
        </p:txBody>
      </p:sp>
      <p:pic>
        <p:nvPicPr>
          <p:cNvPr id="104" name="Picture 6" descr="C:\Users\tdehart\AppData\Local\Microsoft\Windows\Temporary Internet Files\Content.IE5\M8M76H0M\MC900030045[1].wmf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907" y="4011044"/>
            <a:ext cx="350072" cy="51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624" y="1846450"/>
            <a:ext cx="511179" cy="29780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</p:pic>
      <p:sp>
        <p:nvSpPr>
          <p:cNvPr id="106" name="Text Placeholder 2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387644" y="845806"/>
            <a:ext cx="6384756" cy="3623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4008" tIns="32004" rIns="64008" bIns="32004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1700" u="sng" dirty="0">
                <a:latin typeface="+mj-lt"/>
              </a:rPr>
              <a:t>Scope</a:t>
            </a:r>
            <a:r>
              <a:rPr lang="en-US" sz="1700" b="1" u="sng" dirty="0">
                <a:latin typeface="+mj-lt"/>
              </a:rPr>
              <a:t>:</a:t>
            </a:r>
            <a:r>
              <a:rPr lang="en-US" sz="1700" b="1" dirty="0">
                <a:latin typeface="+mj-lt"/>
              </a:rPr>
              <a:t>  </a:t>
            </a:r>
            <a:r>
              <a:rPr lang="en-US" sz="1700" i="1" dirty="0">
                <a:latin typeface="+mj-lt"/>
              </a:rPr>
              <a:t>Across the spectrum of data management implications…</a:t>
            </a:r>
          </a:p>
        </p:txBody>
      </p:sp>
      <p:sp>
        <p:nvSpPr>
          <p:cNvPr id="107" name="Slide Number Placeholder 4"/>
          <p:cNvSpPr txBox="1">
            <a:spLocks/>
          </p:cNvSpPr>
          <p:nvPr/>
        </p:nvSpPr>
        <p:spPr>
          <a:xfrm>
            <a:off x="457200" y="6477000"/>
            <a:ext cx="6400800" cy="24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742950" indent="-28575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11430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6002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20574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eaLnBrk="1" hangingPunct="1"/>
            <a:r>
              <a:rPr lang="en-US" altLang="en-US" sz="900" b="0" smtClean="0">
                <a:solidFill>
                  <a:srgbClr val="000000"/>
                </a:solidFill>
              </a:rPr>
              <a:t>BIG DATA | 2016 | CENTURYLINK CORPORATION | INTERNAL USE ONLY: PRIVATE &amp; CONFIDENTIAL | PAGE </a:t>
            </a:r>
            <a:fld id="{9F2817E7-91D0-4A66-8487-C69E3EE75237}" type="slidenum">
              <a:rPr lang="en-US" altLang="en-US" sz="900" b="0" smtClean="0">
                <a:solidFill>
                  <a:srgbClr val="000000"/>
                </a:solidFill>
              </a:rPr>
              <a:pPr eaLnBrk="1" hangingPunct="1"/>
              <a:t>12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448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457200" y="6477000"/>
            <a:ext cx="6400800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2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rganization</a:t>
            </a:r>
            <a:endParaRPr lang="en-US" altLang="en-US" dirty="0" smtClean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2090936"/>
              </p:ext>
            </p:extLst>
          </p:nvPr>
        </p:nvGraphicFramePr>
        <p:xfrm>
          <a:off x="457200" y="1041400"/>
          <a:ext cx="81534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02096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457200" y="6477000"/>
            <a:ext cx="6400800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3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rganization - Delivery</a:t>
            </a:r>
            <a:endParaRPr lang="en-US" altLang="en-US" dirty="0" smtClean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81941175"/>
              </p:ext>
            </p:extLst>
          </p:nvPr>
        </p:nvGraphicFramePr>
        <p:xfrm>
          <a:off x="457200" y="1041400"/>
          <a:ext cx="8153400" cy="299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6764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r>
              <a:rPr lang="en-US" dirty="0" smtClean="0"/>
              <a:t>ORIGINAL: Initial </a:t>
            </a:r>
            <a:r>
              <a:rPr lang="en-US" dirty="0" smtClean="0"/>
              <a:t>Areas of Responsibility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125939836"/>
              </p:ext>
            </p:extLst>
          </p:nvPr>
        </p:nvGraphicFramePr>
        <p:xfrm>
          <a:off x="228600" y="1"/>
          <a:ext cx="8686800" cy="5167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6200" y="3574602"/>
            <a:ext cx="1828800" cy="280077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Meg Hall—Transformation</a:t>
            </a:r>
          </a:p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Richard </a:t>
            </a:r>
            <a:r>
              <a:rPr lang="en-US" sz="700" b="1" i="1" dirty="0" smtClean="0">
                <a:solidFill>
                  <a:schemeClr val="bg1"/>
                </a:solidFill>
              </a:rPr>
              <a:t>Henning</a:t>
            </a:r>
            <a:endParaRPr lang="en-US" sz="700" b="1" i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87011" y="3637645"/>
            <a:ext cx="1818283" cy="172355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Sandeep / Joe Gance</a:t>
            </a:r>
            <a:endParaRPr lang="en-US" sz="700" b="1" i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33800" y="3667558"/>
            <a:ext cx="1613343" cy="142442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Odell / Marc</a:t>
            </a:r>
            <a:endParaRPr lang="en-US" sz="700" b="1" i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27495" y="3637645"/>
            <a:ext cx="1437608" cy="172355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Frank / Anand / Mark Bragg</a:t>
            </a:r>
            <a:endParaRPr lang="en-US" sz="700" b="1" i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44659" y="2037874"/>
            <a:ext cx="2067783" cy="280077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Bob Reedy / Matt Post </a:t>
            </a:r>
          </a:p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Andrew  Clyne</a:t>
            </a:r>
            <a:endParaRPr lang="en-US" sz="700" b="1" i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05000" y="3637645"/>
            <a:ext cx="1613343" cy="172355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algn="ctr"/>
            <a:r>
              <a:rPr lang="en-US" sz="700" b="1" i="1" dirty="0">
                <a:solidFill>
                  <a:schemeClr val="bg1"/>
                </a:solidFill>
              </a:rPr>
              <a:t>Andrew  / Bruce</a:t>
            </a:r>
            <a:endParaRPr lang="en-US" sz="700" b="1" i="1" dirty="0">
              <a:solidFill>
                <a:schemeClr val="bg1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4669533" y="1128593"/>
            <a:ext cx="757433" cy="462641"/>
          </a:xfrm>
          <a:prstGeom prst="round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dam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143106" y="2667535"/>
            <a:ext cx="757433" cy="462641"/>
          </a:xfrm>
          <a:prstGeom prst="round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100" dirty="0" err="1">
                <a:solidFill>
                  <a:schemeClr val="bg1"/>
                </a:solidFill>
              </a:rPr>
              <a:t>Hari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en-US" sz="1100" dirty="0" err="1">
                <a:solidFill>
                  <a:schemeClr val="bg1"/>
                </a:solidFill>
              </a:rPr>
              <a:t>Ganesan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176222" y="2607769"/>
            <a:ext cx="757433" cy="462641"/>
          </a:xfrm>
          <a:prstGeom prst="round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BVA</a:t>
            </a: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741867" y="2615240"/>
            <a:ext cx="757433" cy="462641"/>
          </a:xfrm>
          <a:prstGeom prst="round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Project Manager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655400" y="2660062"/>
            <a:ext cx="757433" cy="462641"/>
          </a:xfrm>
          <a:prstGeom prst="round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100" dirty="0" err="1">
                <a:solidFill>
                  <a:schemeClr val="bg1"/>
                </a:solidFill>
              </a:rPr>
              <a:t>Hadoop</a:t>
            </a:r>
            <a:r>
              <a:rPr lang="en-US" sz="1100" dirty="0">
                <a:solidFill>
                  <a:schemeClr val="bg1"/>
                </a:solidFill>
              </a:rPr>
              <a:t> Admin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921666" y="2652592"/>
            <a:ext cx="757433" cy="462641"/>
          </a:xfrm>
          <a:prstGeom prst="round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RSA 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7711929" y="1083770"/>
            <a:ext cx="757433" cy="462641"/>
          </a:xfrm>
          <a:prstGeom prst="round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Cloudera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7706327" y="1644065"/>
            <a:ext cx="980473" cy="462641"/>
          </a:xfrm>
          <a:prstGeom prst="round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tIns="32004" rIns="64008" bIns="32004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CenturyLink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3567" y="4817882"/>
            <a:ext cx="1926233" cy="1049518"/>
          </a:xfrm>
          <a:prstGeom prst="rect">
            <a:avLst/>
          </a:prstGeom>
          <a:noFill/>
        </p:spPr>
        <p:txBody>
          <a:bodyPr wrap="none" lIns="64008" tIns="32004" rIns="64008" bIns="32004" rtlCol="0">
            <a:spAutoFit/>
          </a:bodyPr>
          <a:lstStyle/>
          <a:p>
            <a:pPr marL="200025" indent="-200025">
              <a:buFontTx/>
              <a:buChar char="-"/>
            </a:pPr>
            <a:r>
              <a:rPr lang="en-US" sz="800" dirty="0"/>
              <a:t>BVA:  Business Value Assessment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Project Management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CA Agile Central Support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Program Communication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Program Dashboard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Front Door Process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Meeting Minutes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Resource </a:t>
            </a:r>
            <a:r>
              <a:rPr lang="en-US" sz="800" dirty="0" smtClean="0"/>
              <a:t>Onboarding</a:t>
            </a:r>
            <a:endParaRPr lang="en-US" sz="8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283567" y="3791055"/>
            <a:ext cx="0" cy="459710"/>
          </a:xfrm>
          <a:prstGeom prst="straightConnector1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261307" y="4014924"/>
            <a:ext cx="1338893" cy="557076"/>
          </a:xfrm>
          <a:prstGeom prst="rect">
            <a:avLst/>
          </a:prstGeom>
          <a:noFill/>
        </p:spPr>
        <p:txBody>
          <a:bodyPr wrap="none" lIns="64008" tIns="32004" rIns="64008" bIns="32004" rtlCol="0">
            <a:spAutoFit/>
          </a:bodyPr>
          <a:lstStyle/>
          <a:p>
            <a:pPr marL="120015" indent="-120015">
              <a:buFontTx/>
              <a:buChar char="-"/>
            </a:pPr>
            <a:r>
              <a:rPr lang="en-US" sz="800" dirty="0"/>
              <a:t>RTE: Linda Soon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CDH: Adam Taylor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CDH: Suzanne Holshey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BA:  Derek </a:t>
            </a:r>
            <a:r>
              <a:rPr lang="en-US" sz="800" dirty="0" smtClean="0"/>
              <a:t>Strittmatter</a:t>
            </a:r>
            <a:endParaRPr lang="en-US" sz="800" dirty="0"/>
          </a:p>
        </p:txBody>
      </p:sp>
      <p:sp>
        <p:nvSpPr>
          <p:cNvPr id="34" name="TextBox 33"/>
          <p:cNvSpPr txBox="1"/>
          <p:nvPr/>
        </p:nvSpPr>
        <p:spPr>
          <a:xfrm>
            <a:off x="2216333" y="4825270"/>
            <a:ext cx="1517467" cy="612784"/>
          </a:xfrm>
          <a:prstGeom prst="rect">
            <a:avLst/>
          </a:prstGeom>
          <a:noFill/>
        </p:spPr>
        <p:txBody>
          <a:bodyPr wrap="none" lIns="64008" tIns="32004" rIns="64008" bIns="32004" rtlCol="0">
            <a:spAutoFit/>
          </a:bodyPr>
          <a:lstStyle/>
          <a:p>
            <a:pPr marL="200025" indent="-200025">
              <a:buFontTx/>
              <a:buChar char="-"/>
            </a:pPr>
            <a:r>
              <a:rPr lang="en-US" sz="800" dirty="0"/>
              <a:t>Data Quality Assessment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Data Program Strategy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Data Security and Privacy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Data Quality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2133600" y="3810000"/>
            <a:ext cx="0" cy="459710"/>
          </a:xfrm>
          <a:prstGeom prst="straightConnector1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2243251" y="3950855"/>
            <a:ext cx="1261949" cy="557076"/>
          </a:xfrm>
          <a:prstGeom prst="rect">
            <a:avLst/>
          </a:prstGeom>
          <a:noFill/>
        </p:spPr>
        <p:txBody>
          <a:bodyPr wrap="none" lIns="64008" tIns="32004" rIns="64008" bIns="32004" rtlCol="0">
            <a:spAutoFit/>
          </a:bodyPr>
          <a:lstStyle/>
          <a:p>
            <a:pPr marL="120015" indent="-120015">
              <a:buFontTx/>
              <a:buChar char="-"/>
            </a:pPr>
            <a:r>
              <a:rPr lang="en-US" sz="800" dirty="0"/>
              <a:t>Bruce Martin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Ed Pick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CTL: Keith Young Intl.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CTL: Chris Garner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038600" y="4853124"/>
            <a:ext cx="1191142" cy="557076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marL="200025" indent="-200025">
              <a:buFontTx/>
              <a:buChar char="-"/>
            </a:pPr>
            <a:r>
              <a:rPr lang="en-US" sz="800" dirty="0"/>
              <a:t>SLA 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Server Support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Environment Quality </a:t>
            </a:r>
            <a:endParaRPr lang="en-US" sz="800" dirty="0"/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3962400" y="3888172"/>
            <a:ext cx="0" cy="459710"/>
          </a:xfrm>
          <a:prstGeom prst="straightConnector1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038600" y="3950855"/>
            <a:ext cx="975011" cy="680186"/>
          </a:xfrm>
          <a:prstGeom prst="rect">
            <a:avLst/>
          </a:prstGeom>
          <a:noFill/>
        </p:spPr>
        <p:txBody>
          <a:bodyPr wrap="none" lIns="64008" tIns="32004" rIns="64008" bIns="32004" rtlCol="0">
            <a:spAutoFit/>
          </a:bodyPr>
          <a:lstStyle/>
          <a:p>
            <a:pPr marL="120015" indent="-120015">
              <a:buFontTx/>
              <a:buChar char="-"/>
            </a:pPr>
            <a:r>
              <a:rPr lang="en-US" sz="800" dirty="0"/>
              <a:t>Ferrell Semmes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Russ Jesser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Dan Ferretti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Ravi </a:t>
            </a:r>
            <a:r>
              <a:rPr lang="en-US" sz="800" dirty="0" err="1"/>
              <a:t>Enjeti</a:t>
            </a:r>
            <a:endParaRPr lang="en-US" sz="800" dirty="0"/>
          </a:p>
          <a:p>
            <a:pPr marL="120015" indent="-120015">
              <a:buFontTx/>
              <a:buChar char="-"/>
            </a:pPr>
            <a:r>
              <a:rPr lang="en-US" sz="800" dirty="0"/>
              <a:t>Doug Allpass</a:t>
            </a:r>
            <a:endParaRPr lang="en-US" sz="800" dirty="0"/>
          </a:p>
        </p:txBody>
      </p:sp>
      <p:sp>
        <p:nvSpPr>
          <p:cNvPr id="40" name="TextBox 39"/>
          <p:cNvSpPr txBox="1"/>
          <p:nvPr/>
        </p:nvSpPr>
        <p:spPr>
          <a:xfrm>
            <a:off x="5943600" y="4900035"/>
            <a:ext cx="895478" cy="433965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marL="200025" indent="-200025">
              <a:buFontTx/>
              <a:buChar char="-"/>
            </a:pPr>
            <a:r>
              <a:rPr lang="en-US" sz="800" dirty="0"/>
              <a:t>Network 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Data 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Security</a:t>
            </a:r>
            <a:endParaRPr lang="en-US" sz="800" dirty="0"/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5791200" y="3873230"/>
            <a:ext cx="0" cy="459710"/>
          </a:xfrm>
          <a:prstGeom prst="straightConnector1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5922391" y="3900914"/>
            <a:ext cx="1242712" cy="1049518"/>
          </a:xfrm>
          <a:prstGeom prst="rect">
            <a:avLst/>
          </a:prstGeom>
          <a:noFill/>
        </p:spPr>
        <p:txBody>
          <a:bodyPr wrap="none" lIns="64008" tIns="32004" rIns="64008" bIns="32004" rtlCol="0">
            <a:spAutoFit/>
          </a:bodyPr>
          <a:lstStyle/>
          <a:p>
            <a:pPr marL="120015" indent="-120015">
              <a:buFontTx/>
              <a:buChar char="-"/>
            </a:pPr>
            <a:r>
              <a:rPr lang="en-US" sz="800" dirty="0"/>
              <a:t>Sandra Montijo 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Mick McMahon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Lori Shields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Glenn Balanoff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David Allen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Pat Hennessy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INS: Swaroop Trehan</a:t>
            </a:r>
          </a:p>
          <a:p>
            <a:pPr marL="120015" indent="-120015"/>
            <a:endParaRPr lang="en-US" sz="800" dirty="0"/>
          </a:p>
        </p:txBody>
      </p:sp>
      <p:sp>
        <p:nvSpPr>
          <p:cNvPr id="43" name="TextBox 42"/>
          <p:cNvSpPr txBox="1"/>
          <p:nvPr/>
        </p:nvSpPr>
        <p:spPr>
          <a:xfrm>
            <a:off x="7467600" y="4876800"/>
            <a:ext cx="1752600" cy="1172629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 marL="200025" indent="-200025">
              <a:buFontTx/>
              <a:buChar char="-"/>
            </a:pPr>
            <a:r>
              <a:rPr lang="en-US" sz="800" dirty="0"/>
              <a:t>Dev Ops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Use Case and Initiative Delivery</a:t>
            </a:r>
          </a:p>
          <a:p>
            <a:pPr marL="200025" indent="-200025">
              <a:buFontTx/>
              <a:buChar char="-"/>
            </a:pPr>
            <a:r>
              <a:rPr lang="en-US" sz="800" dirty="0"/>
              <a:t>Hadoop Platform Delivery and Integration</a:t>
            </a:r>
          </a:p>
          <a:p>
            <a:pPr marL="657202" lvl="1" indent="-200025">
              <a:buFontTx/>
              <a:buChar char="-"/>
            </a:pPr>
            <a:r>
              <a:rPr lang="en-US" sz="800" dirty="0"/>
              <a:t>PM: Robert Langhart w/Charles Hardin</a:t>
            </a:r>
          </a:p>
          <a:p>
            <a:pPr marL="657202" lvl="1" indent="-200025">
              <a:buFontTx/>
              <a:buChar char="-"/>
            </a:pPr>
            <a:r>
              <a:rPr lang="en-US" sz="800" dirty="0"/>
              <a:t>IGS: Donna Gordon</a:t>
            </a:r>
          </a:p>
          <a:p>
            <a:pPr marL="657202" lvl="1" indent="-200025">
              <a:buFontTx/>
              <a:buChar char="-"/>
            </a:pPr>
            <a:r>
              <a:rPr lang="en-US" sz="800" dirty="0"/>
              <a:t>Tools: Joshua Myers</a:t>
            </a:r>
            <a:endParaRPr lang="en-US" sz="800" dirty="0"/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7543800" y="3880698"/>
            <a:ext cx="0" cy="459710"/>
          </a:xfrm>
          <a:prstGeom prst="straightConnector1">
            <a:avLst/>
          </a:prstGeom>
          <a:ln w="31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7692166" y="3930165"/>
            <a:ext cx="1299434" cy="6801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64008" tIns="32004" rIns="64008" bIns="32004" rtlCol="0">
            <a:spAutoFit/>
          </a:bodyPr>
          <a:lstStyle/>
          <a:p>
            <a:pPr marL="120015" indent="-120015">
              <a:buFontTx/>
              <a:buChar char="-"/>
            </a:pPr>
            <a:r>
              <a:rPr lang="en-US" sz="800" dirty="0"/>
              <a:t>New Big Data Team</a:t>
            </a:r>
          </a:p>
          <a:p>
            <a:pPr marL="120015" indent="-120015">
              <a:buFontTx/>
              <a:buChar char="-"/>
            </a:pPr>
            <a:r>
              <a:rPr lang="en-US" sz="800" dirty="0"/>
              <a:t>Cognilytics (Hadoop and Decision Science)</a:t>
            </a:r>
          </a:p>
          <a:p>
            <a:pPr marL="120015" indent="-120015">
              <a:buFontTx/>
              <a:buChar char="-"/>
            </a:pPr>
            <a:r>
              <a:rPr lang="en-US" sz="800" dirty="0">
                <a:solidFill>
                  <a:srgbClr val="FFC000"/>
                </a:solidFill>
              </a:rPr>
              <a:t>Impetus</a:t>
            </a:r>
          </a:p>
          <a:p>
            <a:pPr marL="120015" indent="-120015">
              <a:buFontTx/>
              <a:buChar char="-"/>
            </a:pPr>
            <a:r>
              <a:rPr lang="en-US" sz="800" dirty="0">
                <a:solidFill>
                  <a:srgbClr val="0070C0"/>
                </a:solidFill>
              </a:rPr>
              <a:t>Clouder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67700" y="5778493"/>
            <a:ext cx="3491822" cy="310854"/>
          </a:xfrm>
          <a:prstGeom prst="rect">
            <a:avLst/>
          </a:prstGeom>
          <a:noFill/>
        </p:spPr>
        <p:txBody>
          <a:bodyPr wrap="square" lIns="64008" tIns="32004" rIns="64008" bIns="32004" rtlCol="0">
            <a:spAutoFit/>
          </a:bodyPr>
          <a:lstStyle/>
          <a:p>
            <a:pPr>
              <a:buFontTx/>
              <a:buChar char="-"/>
            </a:pPr>
            <a:r>
              <a:rPr lang="en-US" sz="800" dirty="0"/>
              <a:t>      Interface to Internal Network: David </a:t>
            </a:r>
            <a:r>
              <a:rPr lang="en-US" sz="800" dirty="0" err="1"/>
              <a:t>Uhl</a:t>
            </a:r>
            <a:endParaRPr lang="en-US" sz="800" dirty="0"/>
          </a:p>
          <a:p>
            <a:pPr>
              <a:buFontTx/>
              <a:buChar char="-"/>
            </a:pPr>
            <a:r>
              <a:rPr lang="en-US" sz="800" dirty="0"/>
              <a:t>      Interface to security:  John Knies /  Chris Garner / Keith Young</a:t>
            </a:r>
            <a:endParaRPr lang="en-US" sz="800" dirty="0"/>
          </a:p>
        </p:txBody>
      </p:sp>
      <p:sp>
        <p:nvSpPr>
          <p:cNvPr id="46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457200" y="6477000"/>
            <a:ext cx="6400800" cy="24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4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2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 smtClean="0"/>
              <a:t>ORIGINAL: Draft </a:t>
            </a:r>
            <a:r>
              <a:rPr lang="en-US" dirty="0" smtClean="0"/>
              <a:t>of Initial Framework—Still in Developmen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BE617-999C-3A42-BA58-58A90C35B84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84706" name="Picture 2"/>
          <p:cNvPicPr>
            <a:picLocks noChangeAspect="1" noChangeArrowheads="1"/>
          </p:cNvPicPr>
          <p:nvPr/>
        </p:nvPicPr>
        <p:blipFill>
          <a:blip r:embed="rId2"/>
          <a:srcRect l="9379" t="24000" r="12471" b="13718"/>
          <a:stretch>
            <a:fillRect/>
          </a:stretch>
        </p:blipFill>
        <p:spPr bwMode="auto">
          <a:xfrm>
            <a:off x="510977" y="1040393"/>
            <a:ext cx="7383485" cy="4411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4"/>
          <p:cNvSpPr txBox="1">
            <a:spLocks/>
          </p:cNvSpPr>
          <p:nvPr/>
        </p:nvSpPr>
        <p:spPr>
          <a:xfrm>
            <a:off x="457200" y="6477000"/>
            <a:ext cx="6400800" cy="24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742950" indent="-28575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11430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6002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20574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| 2016 | CENTURYLINK CORPORATION | INTERNAL USE ONLY: PRIVATE &amp; CONFIDENTIAL | PAGE </a:t>
            </a:r>
            <a:fld id="{9F2817E7-91D0-4A66-8487-C69E3EE75237}" type="slidenum">
              <a:rPr lang="en-US" altLang="en-US" sz="900" b="0" smtClean="0">
                <a:solidFill>
                  <a:srgbClr val="000000"/>
                </a:solidFill>
              </a:rPr>
              <a:pPr eaLnBrk="1" hangingPunct="1"/>
              <a:t>5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73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pPr marL="511937" indent="-511937">
              <a:spcBef>
                <a:spcPts val="1344"/>
              </a:spcBef>
            </a:pPr>
            <a:r>
              <a:rPr lang="en-US" dirty="0" smtClean="0"/>
              <a:t>Roles: Overview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057452"/>
              </p:ext>
            </p:extLst>
          </p:nvPr>
        </p:nvGraphicFramePr>
        <p:xfrm>
          <a:off x="266751" y="985236"/>
          <a:ext cx="8496249" cy="4927715"/>
        </p:xfrm>
        <a:graphic>
          <a:graphicData uri="http://schemas.openxmlformats.org/drawingml/2006/table">
            <a:tbl>
              <a:tblPr/>
              <a:tblGrid>
                <a:gridCol w="1250155"/>
                <a:gridCol w="3009303"/>
                <a:gridCol w="4236791"/>
              </a:tblGrid>
              <a:tr h="23125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unction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oles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cription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36358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a Scienc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a Scientist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 person or collection of people with developer, statistical, and business domain expertise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35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plication Developer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 person who develops new business applications and is a data steward for those applications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4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wer Analyst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 analyst with programming skills that allow the creation of derived data products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4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alyst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 analyst who uses primarily SQL based analytic tools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9186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a Engineering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Engineer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role spans data management and analytics and is critical in the data discovery process.  Has a domain understanding of both the data and the use cases and therefor is responsible for creating common profiles for data elements to facilitate reusability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37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Data Stewards</a:t>
                      </a:r>
                      <a:endParaRPr lang="en-US" sz="12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person responsible for the data elements contained in a data source from an originating system.  Is responsible for creating and logging data.</a:t>
                      </a:r>
                      <a:endParaRPr lang="en-US" sz="1200" b="0" i="0" u="none" strike="noStrike" kern="12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3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Data Ingest (ETL)</a:t>
                      </a:r>
                      <a:endParaRPr lang="en-US" sz="12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onsible for developing the ingest and processing to onboard new data feeds and to apply simple schemas. This is a development role</a:t>
                      </a:r>
                      <a:r>
                        <a:rPr lang="en-US" sz="1200" b="0" i="1" u="none" strike="noStrike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is also considered a Jr. Data Engineer.</a:t>
                      </a:r>
                      <a:endParaRPr lang="en-US" sz="1200" b="0" i="0" u="none" strike="noStrike" kern="12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35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a Operations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ponsible for the maintaining Service Levels on the end-to-end data pipeline.  This is an operational role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3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tion 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InfoSec)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versight and accountability for the installation and management of security systems across the entire organization's network and enforcing compliance to data security, privacy and retention policies and processes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Slide Number Placeholder 4"/>
          <p:cNvSpPr txBox="1">
            <a:spLocks/>
          </p:cNvSpPr>
          <p:nvPr/>
        </p:nvSpPr>
        <p:spPr>
          <a:xfrm>
            <a:off x="457200" y="6477000"/>
            <a:ext cx="6400800" cy="24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742950" indent="-28575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11430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6002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20574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| 2016 | CENTURYLINK CORPORATION | INTERNAL USE ONLY: PRIVATE &amp; CONFIDENTIAL | PAGE </a:t>
            </a:r>
            <a:fld id="{9F2817E7-91D0-4A66-8487-C69E3EE75237}" type="slidenum">
              <a:rPr lang="en-US" altLang="en-US" sz="900" b="0" smtClean="0">
                <a:solidFill>
                  <a:srgbClr val="000000"/>
                </a:solidFill>
              </a:rPr>
              <a:pPr eaLnBrk="1" hangingPunct="1"/>
              <a:t>6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94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pPr marL="511937" indent="-511937">
              <a:spcBef>
                <a:spcPts val="1344"/>
              </a:spcBef>
            </a:pPr>
            <a:r>
              <a:rPr lang="en-US" dirty="0" smtClean="0"/>
              <a:t>Roles: Overview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773755"/>
              </p:ext>
            </p:extLst>
          </p:nvPr>
        </p:nvGraphicFramePr>
        <p:xfrm>
          <a:off x="266751" y="993776"/>
          <a:ext cx="8496249" cy="1871344"/>
        </p:xfrm>
        <a:graphic>
          <a:graphicData uri="http://schemas.openxmlformats.org/drawingml/2006/table">
            <a:tbl>
              <a:tblPr/>
              <a:tblGrid>
                <a:gridCol w="1250155"/>
                <a:gridCol w="3009303"/>
                <a:gridCol w="4236791"/>
              </a:tblGrid>
              <a:tr h="23125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unction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oles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cription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54138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rchitectu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Enterprise Architect</a:t>
                      </a:r>
                      <a:endParaRPr lang="en-US" sz="12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wns the EDH Architecture and how it integrates with the other applications in the data center.  Continuously explores new technology and determines how it integrates / impacts the EDH</a:t>
                      </a:r>
                      <a:r>
                        <a:rPr lang="en-US" sz="1200" b="0" i="0" u="none" strike="noStrike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34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doop Administrator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ponsible for cluster SLAs.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43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twork Administrator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twork support for cluster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28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s Administrator</a:t>
                      </a:r>
                    </a:p>
                  </a:txBody>
                  <a:tcPr marL="5989" marR="5989" marT="79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vel 1/2 support for cluster</a:t>
                      </a:r>
                    </a:p>
                  </a:txBody>
                  <a:tcPr marL="5989" marR="5989" marT="79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Slide Number Placeholder 4"/>
          <p:cNvSpPr txBox="1">
            <a:spLocks/>
          </p:cNvSpPr>
          <p:nvPr/>
        </p:nvSpPr>
        <p:spPr>
          <a:xfrm>
            <a:off x="457200" y="6477000"/>
            <a:ext cx="6400800" cy="24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742950" indent="-28575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11430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6002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2057400" indent="-228600" algn="l" defTabSz="914400" rtl="0" eaLnBrk="0" latinLnBrk="0" hangingPunct="0"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 | 2016 | CENTURYLINK CORPORATION | INTERNAL USE ONLY: PRIVATE &amp; CONFIDENTIAL | PAGE </a:t>
            </a:r>
            <a:fld id="{9F2817E7-91D0-4A66-8487-C69E3EE75237}" type="slidenum">
              <a:rPr lang="en-US" altLang="en-US" sz="900" b="0" smtClean="0">
                <a:solidFill>
                  <a:srgbClr val="000000"/>
                </a:solidFill>
              </a:rPr>
              <a:pPr eaLnBrk="1" hangingPunct="1"/>
              <a:t>7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63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oles and </a:t>
            </a:r>
            <a:r>
              <a:rPr lang="en-US" dirty="0" smtClean="0"/>
              <a:t>Responsibilities - SCRUM</a:t>
            </a:r>
            <a:endParaRPr lang="en-US" altLang="en-US" dirty="0" smtClean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idx="1"/>
          </p:nvPr>
        </p:nvSpPr>
        <p:spPr>
          <a:xfrm>
            <a:off x="457200" y="838200"/>
            <a:ext cx="8153400" cy="5435600"/>
          </a:xfrm>
        </p:spPr>
        <p:txBody>
          <a:bodyPr/>
          <a:lstStyle/>
          <a:p>
            <a:r>
              <a:rPr lang="en-US" sz="1400" dirty="0" smtClean="0"/>
              <a:t>CHIEF PRODUCT OWNER</a:t>
            </a:r>
          </a:p>
          <a:p>
            <a:pPr lvl="1"/>
            <a:r>
              <a:rPr lang="en-US" sz="1200" dirty="0" smtClean="0"/>
              <a:t>Set Priorities for the Program</a:t>
            </a:r>
          </a:p>
          <a:p>
            <a:pPr lvl="1"/>
            <a:r>
              <a:rPr lang="en-US" sz="1200" dirty="0" smtClean="0"/>
              <a:t>Determines business value and prioritization of each MMP and/or Feature</a:t>
            </a:r>
          </a:p>
          <a:p>
            <a:pPr lvl="1"/>
            <a:r>
              <a:rPr lang="en-US" sz="1200" dirty="0" smtClean="0"/>
              <a:t>Resolve prioritization and conflicts between Trains</a:t>
            </a:r>
          </a:p>
          <a:p>
            <a:pPr lvl="1"/>
            <a:r>
              <a:rPr lang="en-US" sz="1200" dirty="0" smtClean="0"/>
              <a:t>Supports Train Product Owners during PI/Sprint planning and backlog refinement</a:t>
            </a:r>
          </a:p>
          <a:p>
            <a:r>
              <a:rPr lang="en-US" sz="1400" dirty="0" smtClean="0"/>
              <a:t>TRAIN </a:t>
            </a:r>
            <a:r>
              <a:rPr lang="en-US" sz="1400" dirty="0" smtClean="0"/>
              <a:t>PRODUCT OWNER</a:t>
            </a:r>
          </a:p>
          <a:p>
            <a:pPr lvl="1"/>
            <a:r>
              <a:rPr lang="en-US" sz="1200" dirty="0" smtClean="0"/>
              <a:t>Determines business value and prioritization of each </a:t>
            </a:r>
            <a:r>
              <a:rPr lang="en-US" sz="1200" dirty="0" smtClean="0"/>
              <a:t>MMP and/or </a:t>
            </a:r>
            <a:r>
              <a:rPr lang="en-US" sz="1200" dirty="0" smtClean="0"/>
              <a:t>Feature</a:t>
            </a:r>
          </a:p>
          <a:p>
            <a:pPr lvl="1"/>
            <a:r>
              <a:rPr lang="en-US" sz="1200" dirty="0" smtClean="0"/>
              <a:t>Maintains prioritized product backlog for Train</a:t>
            </a:r>
          </a:p>
          <a:p>
            <a:pPr lvl="1"/>
            <a:r>
              <a:rPr lang="en-US" sz="1200" dirty="0" smtClean="0"/>
              <a:t>Escalates changes in priority to Change Control Board for visibility and decisions</a:t>
            </a:r>
          </a:p>
          <a:p>
            <a:pPr lvl="1"/>
            <a:r>
              <a:rPr lang="en-US" sz="1200" dirty="0" smtClean="0"/>
              <a:t>Supports Domain Product Owners during PI/Sprint planning and backlog refinement</a:t>
            </a:r>
          </a:p>
          <a:p>
            <a:r>
              <a:rPr lang="en-US" sz="1400" dirty="0" smtClean="0"/>
              <a:t>DOMAIN PRODUCT OWNER</a:t>
            </a:r>
          </a:p>
          <a:p>
            <a:pPr lvl="1"/>
            <a:r>
              <a:rPr lang="en-US" sz="1200" dirty="0" smtClean="0"/>
              <a:t>Maintains prioritized product backlog for Domain</a:t>
            </a:r>
          </a:p>
          <a:p>
            <a:pPr lvl="1"/>
            <a:r>
              <a:rPr lang="en-US" sz="1200" dirty="0" smtClean="0"/>
              <a:t>Escalate changes in priority to Change Control Board for visibility and decisions</a:t>
            </a:r>
          </a:p>
          <a:p>
            <a:pPr lvl="1"/>
            <a:r>
              <a:rPr lang="en-US" sz="1200" dirty="0" smtClean="0"/>
              <a:t>Supports Team Product Owners during PI/Sprint planning and backlog refinement</a:t>
            </a:r>
          </a:p>
          <a:p>
            <a:pPr lvl="1"/>
            <a:r>
              <a:rPr lang="en-US" sz="1200" dirty="0" smtClean="0"/>
              <a:t>Handles demos and related acceptance </a:t>
            </a:r>
          </a:p>
          <a:p>
            <a:r>
              <a:rPr lang="en-US" sz="1400" dirty="0" smtClean="0"/>
              <a:t>TEAM PRODUCT OWNER</a:t>
            </a:r>
          </a:p>
          <a:p>
            <a:pPr lvl="1"/>
            <a:r>
              <a:rPr lang="en-US" sz="1200" dirty="0" smtClean="0"/>
              <a:t>Maintains prioritized product backlog for Team</a:t>
            </a:r>
          </a:p>
          <a:p>
            <a:pPr lvl="1"/>
            <a:r>
              <a:rPr lang="en-US" sz="1200" dirty="0" smtClean="0"/>
              <a:t>Escalate changes in priority to Domain Change Control Board for visibility and decisions</a:t>
            </a:r>
          </a:p>
          <a:p>
            <a:pPr lvl="1"/>
            <a:r>
              <a:rPr lang="en-US" sz="1200" dirty="0" smtClean="0"/>
              <a:t>PI/Sprint planning and backlog refinement</a:t>
            </a:r>
          </a:p>
          <a:p>
            <a:pPr lvl="1"/>
            <a:r>
              <a:rPr lang="en-US" sz="1200" dirty="0" smtClean="0"/>
              <a:t>Handles demos and related acceptance </a:t>
            </a:r>
          </a:p>
          <a:p>
            <a:endParaRPr lang="en-US" dirty="0" smtClean="0"/>
          </a:p>
          <a:p>
            <a:pPr marL="0" indent="0" eaLnBrk="1" hangingPunct="1"/>
            <a:endParaRPr lang="en-US" altLang="en-US" dirty="0" smtClean="0"/>
          </a:p>
        </p:txBody>
      </p:sp>
      <p:sp>
        <p:nvSpPr>
          <p:cNvPr id="5122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457200" y="6477000"/>
            <a:ext cx="6400800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</a:t>
            </a:r>
            <a:r>
              <a:rPr lang="en-US" altLang="en-US" sz="900" b="0" dirty="0" smtClean="0">
                <a:solidFill>
                  <a:srgbClr val="000000"/>
                </a:solidFill>
              </a:rPr>
              <a:t>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8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959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457200" y="6477000"/>
            <a:ext cx="6400800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900" b="0" dirty="0" smtClean="0">
                <a:solidFill>
                  <a:srgbClr val="000000"/>
                </a:solidFill>
              </a:rPr>
              <a:t>BIG DATA</a:t>
            </a:r>
            <a:r>
              <a:rPr lang="en-US" altLang="en-US" sz="900" b="0" dirty="0" smtClean="0">
                <a:solidFill>
                  <a:srgbClr val="000000"/>
                </a:solidFill>
              </a:rPr>
              <a:t> </a:t>
            </a:r>
            <a:r>
              <a:rPr lang="en-US" altLang="en-US" sz="900" b="0" dirty="0">
                <a:solidFill>
                  <a:srgbClr val="000000"/>
                </a:solidFill>
              </a:rPr>
              <a:t>| 2016 | CENTURYLINK CORPORATION | INTERNAL USE ONLY: PRIVATE &amp; CONFIDENTIAL | PAGE </a:t>
            </a:r>
            <a:fld id="{9F2817E7-91D0-4A66-8487-C69E3EE75237}" type="slidenum">
              <a:rPr lang="en-US" altLang="en-US" sz="900" b="0">
                <a:solidFill>
                  <a:srgbClr val="000000"/>
                </a:solidFill>
              </a:rPr>
              <a:pPr eaLnBrk="1" hangingPunct="1"/>
              <a:t>9</a:t>
            </a:fld>
            <a:endParaRPr lang="en-US" altLang="en-US" sz="900" b="0" dirty="0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oles and </a:t>
            </a:r>
            <a:r>
              <a:rPr lang="en-US" dirty="0"/>
              <a:t>Responsibilities - SCRUM</a:t>
            </a:r>
            <a:endParaRPr lang="en-US" altLang="en-US" dirty="0" smtClean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457200" y="838200"/>
            <a:ext cx="8153400" cy="5105400"/>
          </a:xfrm>
        </p:spPr>
        <p:txBody>
          <a:bodyPr/>
          <a:lstStyle/>
          <a:p>
            <a:r>
              <a:rPr lang="en-US" sz="1400" dirty="0" smtClean="0"/>
              <a:t>CHIEF ARCHITECT</a:t>
            </a:r>
          </a:p>
          <a:p>
            <a:pPr lvl="1"/>
            <a:r>
              <a:rPr lang="en-US" sz="1200" dirty="0" smtClean="0"/>
              <a:t>Responsible for Solution Design within Trains</a:t>
            </a:r>
          </a:p>
          <a:p>
            <a:pPr lvl="1"/>
            <a:r>
              <a:rPr lang="en-US" sz="1200" dirty="0" smtClean="0"/>
              <a:t>Responsible for </a:t>
            </a:r>
            <a:r>
              <a:rPr lang="en-US" sz="1200" dirty="0" smtClean="0"/>
              <a:t>BIG DATA overall </a:t>
            </a:r>
            <a:r>
              <a:rPr lang="en-US" sz="1200" dirty="0" smtClean="0"/>
              <a:t>decisions, plans, goals and strategies</a:t>
            </a:r>
          </a:p>
          <a:p>
            <a:endParaRPr lang="en-US" sz="1400" dirty="0" smtClean="0"/>
          </a:p>
          <a:p>
            <a:r>
              <a:rPr lang="en-US" sz="1400" dirty="0" smtClean="0"/>
              <a:t>CHIEF SOLUTION ARCHITECT</a:t>
            </a:r>
          </a:p>
          <a:p>
            <a:pPr lvl="1"/>
            <a:r>
              <a:rPr lang="en-US" sz="1200" dirty="0" smtClean="0"/>
              <a:t>Responsible for </a:t>
            </a:r>
            <a:r>
              <a:rPr lang="en-US" sz="1200" dirty="0" smtClean="0"/>
              <a:t>BIG DATA </a:t>
            </a:r>
            <a:r>
              <a:rPr lang="en-US" sz="1200" dirty="0" smtClean="0"/>
              <a:t>solution decisions, plans, goals and strategies</a:t>
            </a:r>
          </a:p>
          <a:p>
            <a:pPr lvl="1"/>
            <a:r>
              <a:rPr lang="en-US" sz="1200" dirty="0" smtClean="0"/>
              <a:t>Provides direction to Enterprise Architects, Business Architects, and Solution Architects</a:t>
            </a:r>
          </a:p>
          <a:p>
            <a:pPr lvl="1"/>
            <a:r>
              <a:rPr lang="en-US" sz="1200" dirty="0" smtClean="0"/>
              <a:t>Delivers architectural initiatives and provide oversight and support to Chief POs, Chief RTE and Chief POP </a:t>
            </a:r>
          </a:p>
          <a:p>
            <a:endParaRPr lang="en-US" sz="1400" dirty="0" smtClean="0"/>
          </a:p>
          <a:p>
            <a:r>
              <a:rPr lang="en-US" sz="1400" dirty="0" smtClean="0"/>
              <a:t>SOLUTION ARCHITECT PRIME</a:t>
            </a:r>
          </a:p>
          <a:p>
            <a:pPr lvl="1"/>
            <a:r>
              <a:rPr lang="en-US" sz="1200" dirty="0" smtClean="0"/>
              <a:t>Responsible for Solution Design within Trains</a:t>
            </a:r>
          </a:p>
          <a:p>
            <a:pPr lvl="1"/>
            <a:r>
              <a:rPr lang="en-US" sz="1200" dirty="0" smtClean="0"/>
              <a:t>Direct support for Chief Solution Architect</a:t>
            </a:r>
          </a:p>
          <a:p>
            <a:pPr lvl="1"/>
            <a:r>
              <a:rPr lang="en-US" sz="1200" dirty="0" smtClean="0"/>
              <a:t>Drives resolution for architectural initiatives and provide oversight and support to Chief POs, Chief RTE and Chief POP </a:t>
            </a:r>
          </a:p>
          <a:p>
            <a:endParaRPr lang="en-US" sz="1400" dirty="0" smtClean="0"/>
          </a:p>
          <a:p>
            <a:r>
              <a:rPr lang="en-US" sz="1400" dirty="0" smtClean="0"/>
              <a:t>DOMAIN ARCHITECT  </a:t>
            </a:r>
          </a:p>
          <a:p>
            <a:pPr lvl="1"/>
            <a:r>
              <a:rPr lang="en-US" sz="1200" dirty="0" smtClean="0"/>
              <a:t>Provides reference architecture for the Domain</a:t>
            </a:r>
          </a:p>
          <a:p>
            <a:pPr lvl="1"/>
            <a:r>
              <a:rPr lang="en-US" sz="1200" dirty="0" smtClean="0"/>
              <a:t>Resource to answer architectural questions </a:t>
            </a:r>
          </a:p>
          <a:p>
            <a:pPr lvl="1"/>
            <a:r>
              <a:rPr lang="en-US" sz="1200" dirty="0" smtClean="0"/>
              <a:t>Responsible for Solution Design within Domains</a:t>
            </a:r>
          </a:p>
          <a:p>
            <a:pPr lvl="1"/>
            <a:r>
              <a:rPr lang="en-US" sz="1200" dirty="0" smtClean="0"/>
              <a:t>Provides daily technical solution guidance and support to Scrum Team members</a:t>
            </a:r>
          </a:p>
          <a:p>
            <a:pPr lvl="1"/>
            <a:r>
              <a:rPr lang="en-US" sz="1200" dirty="0" smtClean="0"/>
              <a:t>Responsible for delivery of content in line with solution expectations</a:t>
            </a:r>
          </a:p>
          <a:p>
            <a:pPr lvl="1"/>
            <a:r>
              <a:rPr lang="en-US" sz="1200" dirty="0" smtClean="0"/>
              <a:t>Resolves inter-team technical communications and issue resolution </a:t>
            </a:r>
          </a:p>
          <a:p>
            <a:pPr lvl="1"/>
            <a:r>
              <a:rPr lang="en-US" sz="1200" dirty="0" smtClean="0"/>
              <a:t>Responsible for substantive and regular communications on solution status </a:t>
            </a:r>
            <a:endParaRPr lang="en-US" dirty="0" smtClean="0"/>
          </a:p>
          <a:p>
            <a:pPr marL="0" indent="0" eaLnBrk="1" hangingPunct="1"/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570959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f3cnK3VEifG_r8FIjh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XUtUNPMUmnZw8X6h7q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ibulAftEWA_ns6TFXL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9re4dBkWIy4AOA_YLxA"/>
</p:tagLst>
</file>

<file path=ppt/theme/theme1.xml><?xml version="1.0" encoding="utf-8"?>
<a:theme xmlns:a="http://schemas.openxmlformats.org/drawingml/2006/main" name="Business_PPT_Template_3_NEW">
  <a:themeElements>
    <a:clrScheme name="Business_PPT_Template_3b 13">
      <a:dk1>
        <a:srgbClr val="000000"/>
      </a:dk1>
      <a:lt1>
        <a:srgbClr val="FFFFFF"/>
      </a:lt1>
      <a:dk2>
        <a:srgbClr val="00853F"/>
      </a:dk2>
      <a:lt2>
        <a:srgbClr val="808080"/>
      </a:lt2>
      <a:accent1>
        <a:srgbClr val="8CC63F"/>
      </a:accent1>
      <a:accent2>
        <a:srgbClr val="00853F"/>
      </a:accent2>
      <a:accent3>
        <a:srgbClr val="FFFFFF"/>
      </a:accent3>
      <a:accent4>
        <a:srgbClr val="000000"/>
      </a:accent4>
      <a:accent5>
        <a:srgbClr val="C5DFAF"/>
      </a:accent5>
      <a:accent6>
        <a:srgbClr val="007838"/>
      </a:accent6>
      <a:hlink>
        <a:srgbClr val="274D36"/>
      </a:hlink>
      <a:folHlink>
        <a:srgbClr val="CCDA00"/>
      </a:folHlink>
    </a:clrScheme>
    <a:fontScheme name="Business_PPT_Template_3b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Business_PPT_Template_3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3">
        <a:dk1>
          <a:srgbClr val="000000"/>
        </a:dk1>
        <a:lt1>
          <a:srgbClr val="FFFFFF"/>
        </a:lt1>
        <a:dk2>
          <a:srgbClr val="00853F"/>
        </a:dk2>
        <a:lt2>
          <a:srgbClr val="808080"/>
        </a:lt2>
        <a:accent1>
          <a:srgbClr val="8CC63F"/>
        </a:accent1>
        <a:accent2>
          <a:srgbClr val="00853F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007838"/>
        </a:accent6>
        <a:hlink>
          <a:srgbClr val="274D36"/>
        </a:hlink>
        <a:folHlink>
          <a:srgbClr val="CCD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usiness_PPT_Template_3_NEW">
  <a:themeElements>
    <a:clrScheme name="Business_PPT_Template_3b 13">
      <a:dk1>
        <a:srgbClr val="000000"/>
      </a:dk1>
      <a:lt1>
        <a:srgbClr val="FFFFFF"/>
      </a:lt1>
      <a:dk2>
        <a:srgbClr val="00853F"/>
      </a:dk2>
      <a:lt2>
        <a:srgbClr val="808080"/>
      </a:lt2>
      <a:accent1>
        <a:srgbClr val="8CC63F"/>
      </a:accent1>
      <a:accent2>
        <a:srgbClr val="00853F"/>
      </a:accent2>
      <a:accent3>
        <a:srgbClr val="FFFFFF"/>
      </a:accent3>
      <a:accent4>
        <a:srgbClr val="000000"/>
      </a:accent4>
      <a:accent5>
        <a:srgbClr val="C5DFAF"/>
      </a:accent5>
      <a:accent6>
        <a:srgbClr val="007838"/>
      </a:accent6>
      <a:hlink>
        <a:srgbClr val="274D36"/>
      </a:hlink>
      <a:folHlink>
        <a:srgbClr val="CCDA00"/>
      </a:folHlink>
    </a:clrScheme>
    <a:fontScheme name="Business_PPT_Template_3b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Business_PPT_Template_3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3">
        <a:dk1>
          <a:srgbClr val="000000"/>
        </a:dk1>
        <a:lt1>
          <a:srgbClr val="FFFFFF"/>
        </a:lt1>
        <a:dk2>
          <a:srgbClr val="00853F"/>
        </a:dk2>
        <a:lt2>
          <a:srgbClr val="808080"/>
        </a:lt2>
        <a:accent1>
          <a:srgbClr val="8CC63F"/>
        </a:accent1>
        <a:accent2>
          <a:srgbClr val="00853F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007838"/>
        </a:accent6>
        <a:hlink>
          <a:srgbClr val="274D36"/>
        </a:hlink>
        <a:folHlink>
          <a:srgbClr val="CCD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usiness_PPT_Template_3_NEW">
  <a:themeElements>
    <a:clrScheme name="Business_PPT_Template_3b 13">
      <a:dk1>
        <a:srgbClr val="000000"/>
      </a:dk1>
      <a:lt1>
        <a:srgbClr val="FFFFFF"/>
      </a:lt1>
      <a:dk2>
        <a:srgbClr val="00853F"/>
      </a:dk2>
      <a:lt2>
        <a:srgbClr val="808080"/>
      </a:lt2>
      <a:accent1>
        <a:srgbClr val="8CC63F"/>
      </a:accent1>
      <a:accent2>
        <a:srgbClr val="00853F"/>
      </a:accent2>
      <a:accent3>
        <a:srgbClr val="FFFFFF"/>
      </a:accent3>
      <a:accent4>
        <a:srgbClr val="000000"/>
      </a:accent4>
      <a:accent5>
        <a:srgbClr val="C5DFAF"/>
      </a:accent5>
      <a:accent6>
        <a:srgbClr val="007838"/>
      </a:accent6>
      <a:hlink>
        <a:srgbClr val="274D36"/>
      </a:hlink>
      <a:folHlink>
        <a:srgbClr val="CCDA00"/>
      </a:folHlink>
    </a:clrScheme>
    <a:fontScheme name="Business_PPT_Template_3b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Business_PPT_Template_3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3">
        <a:dk1>
          <a:srgbClr val="000000"/>
        </a:dk1>
        <a:lt1>
          <a:srgbClr val="FFFFFF"/>
        </a:lt1>
        <a:dk2>
          <a:srgbClr val="00853F"/>
        </a:dk2>
        <a:lt2>
          <a:srgbClr val="808080"/>
        </a:lt2>
        <a:accent1>
          <a:srgbClr val="8CC63F"/>
        </a:accent1>
        <a:accent2>
          <a:srgbClr val="00853F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007838"/>
        </a:accent6>
        <a:hlink>
          <a:srgbClr val="274D36"/>
        </a:hlink>
        <a:folHlink>
          <a:srgbClr val="CCD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Business_PPT_Template_3_NEW">
  <a:themeElements>
    <a:clrScheme name="Business_PPT_Template_3b 13">
      <a:dk1>
        <a:srgbClr val="000000"/>
      </a:dk1>
      <a:lt1>
        <a:srgbClr val="FFFFFF"/>
      </a:lt1>
      <a:dk2>
        <a:srgbClr val="00853F"/>
      </a:dk2>
      <a:lt2>
        <a:srgbClr val="808080"/>
      </a:lt2>
      <a:accent1>
        <a:srgbClr val="8CC63F"/>
      </a:accent1>
      <a:accent2>
        <a:srgbClr val="00853F"/>
      </a:accent2>
      <a:accent3>
        <a:srgbClr val="FFFFFF"/>
      </a:accent3>
      <a:accent4>
        <a:srgbClr val="000000"/>
      </a:accent4>
      <a:accent5>
        <a:srgbClr val="C5DFAF"/>
      </a:accent5>
      <a:accent6>
        <a:srgbClr val="007838"/>
      </a:accent6>
      <a:hlink>
        <a:srgbClr val="274D36"/>
      </a:hlink>
      <a:folHlink>
        <a:srgbClr val="CCDA00"/>
      </a:folHlink>
    </a:clrScheme>
    <a:fontScheme name="Business_PPT_Template_3b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Business_PPT_Template_3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_PPT_Template_3b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siness_PPT_Template_3b 13">
        <a:dk1>
          <a:srgbClr val="000000"/>
        </a:dk1>
        <a:lt1>
          <a:srgbClr val="FFFFFF"/>
        </a:lt1>
        <a:dk2>
          <a:srgbClr val="00853F"/>
        </a:dk2>
        <a:lt2>
          <a:srgbClr val="808080"/>
        </a:lt2>
        <a:accent1>
          <a:srgbClr val="8CC63F"/>
        </a:accent1>
        <a:accent2>
          <a:srgbClr val="00853F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007838"/>
        </a:accent6>
        <a:hlink>
          <a:srgbClr val="274D36"/>
        </a:hlink>
        <a:folHlink>
          <a:srgbClr val="CCD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C151005451E241B86CAD6C702C12C7" ma:contentTypeVersion="2" ma:contentTypeDescription="Create a new document." ma:contentTypeScope="" ma:versionID="3020071883e87008f7f2abb3b65a3b32">
  <xsd:schema xmlns:xsd="http://www.w3.org/2001/XMLSchema" xmlns:xs="http://www.w3.org/2001/XMLSchema" xmlns:p="http://schemas.microsoft.com/office/2006/metadata/properties" xmlns:ns2="bcea28ca-3f7c-4e93-9cd9-7c2c91a38d3f" xmlns:ns3="67697e0c-b635-4f57-a3ae-15299016c358" xmlns:ns4="http://schemas.microsoft.com/sharepoint/v4" targetNamespace="http://schemas.microsoft.com/office/2006/metadata/properties" ma:root="true" ma:fieldsID="18b982ea468ea6216ac83c30f87a03b0" ns2:_="" ns3:_="" ns4:_="">
    <xsd:import namespace="bcea28ca-3f7c-4e93-9cd9-7c2c91a38d3f"/>
    <xsd:import namespace="67697e0c-b635-4f57-a3ae-15299016c358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ocument_x0020_Type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ea28ca-3f7c-4e93-9cd9-7c2c91a38d3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697e0c-b635-4f57-a3ae-15299016c358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11" nillable="true" ma:displayName="Document Type" ma:format="Dropdown" ma:internalName="Document_x0020_Type">
      <xsd:simpleType>
        <xsd:restriction base="dms:Choice">
          <xsd:enumeration value="Planning"/>
          <xsd:enumeration value="Support"/>
          <xsd:enumeration value="Templates"/>
          <xsd:enumeration value="Reference"/>
          <xsd:enumeration value="Status"/>
          <xsd:enumeration value="Project WBS"/>
          <xsd:enumeration value="Architecture"/>
          <xsd:enumeration value="Minutes"/>
          <xsd:enumeration value="Change Request"/>
          <xsd:enumeration value="DLI (Data Lake Intake) and User Access Processe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2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Type xmlns="67697e0c-b635-4f57-a3ae-15299016c358">Reference</Document_x0020_Type>
    <_dlc_DocId xmlns="bcea28ca-3f7c-4e93-9cd9-7c2c91a38d3f">DMY3QDKWEKKJ-9-129</_dlc_DocId>
    <_dlc_DocIdUrl xmlns="bcea28ca-3f7c-4e93-9cd9-7c2c91a38d3f">
      <Url>http://collaboration.ad.qintra.com/BU/IPI/scph/TransformPC2/BigData/_layouts/DocIdRedir.aspx?ID=DMY3QDKWEKKJ-9-129</Url>
      <Description>DMY3QDKWEKKJ-9-129</Description>
    </_dlc_DocIdUrl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576FB421-84D4-4358-8D96-60A25E6AC3A4}"/>
</file>

<file path=customXml/itemProps2.xml><?xml version="1.0" encoding="utf-8"?>
<ds:datastoreItem xmlns:ds="http://schemas.openxmlformats.org/officeDocument/2006/customXml" ds:itemID="{13A4B13F-6315-4347-BB4A-E37CAD66F4AE}"/>
</file>

<file path=customXml/itemProps3.xml><?xml version="1.0" encoding="utf-8"?>
<ds:datastoreItem xmlns:ds="http://schemas.openxmlformats.org/officeDocument/2006/customXml" ds:itemID="{3AE92813-CC0A-4D92-8F07-6EE2FC76D60D}"/>
</file>

<file path=customXml/itemProps4.xml><?xml version="1.0" encoding="utf-8"?>
<ds:datastoreItem xmlns:ds="http://schemas.openxmlformats.org/officeDocument/2006/customXml" ds:itemID="{AE09C272-4326-4DD8-9C73-25E9F1E98E2B}"/>
</file>

<file path=docProps/app.xml><?xml version="1.0" encoding="utf-8"?>
<Properties xmlns="http://schemas.openxmlformats.org/officeDocument/2006/extended-properties" xmlns:vt="http://schemas.openxmlformats.org/officeDocument/2006/docPropsVTypes">
  <TotalTime>1879</TotalTime>
  <Words>1583</Words>
  <Application>Microsoft Office PowerPoint</Application>
  <PresentationFormat>On-screen Show (4:3)</PresentationFormat>
  <Paragraphs>296</Paragraphs>
  <Slides>12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Business_PPT_Template_3_NEW</vt:lpstr>
      <vt:lpstr>1_Business_PPT_Template_3_NEW</vt:lpstr>
      <vt:lpstr>2_Business_PPT_Template_3_NEW</vt:lpstr>
      <vt:lpstr>3_Business_PPT_Template_3_NEW</vt:lpstr>
      <vt:lpstr>think-cell Slide</vt:lpstr>
      <vt:lpstr>ROLES AND RESPONSIBILITIES   BIG DATA</vt:lpstr>
      <vt:lpstr>Organization</vt:lpstr>
      <vt:lpstr>Organization - Delivery</vt:lpstr>
      <vt:lpstr>ORIGINAL: Initial Areas of Responsibility</vt:lpstr>
      <vt:lpstr>ORIGINAL: Draft of Initial Framework—Still in Development</vt:lpstr>
      <vt:lpstr>Roles: Overview</vt:lpstr>
      <vt:lpstr>Roles: Overview</vt:lpstr>
      <vt:lpstr>Roles and Responsibilities - SCRUM</vt:lpstr>
      <vt:lpstr>Roles and Responsibilities - SCRUM</vt:lpstr>
      <vt:lpstr>Roles and Responsibilities - SCRUM</vt:lpstr>
      <vt:lpstr>PowerPoint Presentation</vt:lpstr>
      <vt:lpstr>Establish Full Spectrum of Data Governance</vt:lpstr>
    </vt:vector>
  </TitlesOfParts>
  <Company>CenturyLi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LES AND RESPONSIBILITY</dc:title>
  <dc:creator>User</dc:creator>
  <cp:lastModifiedBy>Richard Henning</cp:lastModifiedBy>
  <cp:revision>29</cp:revision>
  <dcterms:created xsi:type="dcterms:W3CDTF">2016-09-16T23:27:07Z</dcterms:created>
  <dcterms:modified xsi:type="dcterms:W3CDTF">2016-10-17T20:0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C151005451E241B86CAD6C702C12C7</vt:lpwstr>
  </property>
  <property fmtid="{D5CDD505-2E9C-101B-9397-08002B2CF9AE}" pid="3" name="_dlc_DocIdItemGuid">
    <vt:lpwstr>97735045-eedf-4e79-8344-e4f0117e235b</vt:lpwstr>
  </property>
</Properties>
</file>